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2"/>
  </p:notesMasterIdLst>
  <p:sldIdLst>
    <p:sldId id="293" r:id="rId2"/>
    <p:sldId id="2147470985" r:id="rId3"/>
    <p:sldId id="2147471452" r:id="rId4"/>
    <p:sldId id="2147471455" r:id="rId5"/>
    <p:sldId id="2147472444" r:id="rId6"/>
    <p:sldId id="2147472446" r:id="rId7"/>
    <p:sldId id="2147472447" r:id="rId8"/>
    <p:sldId id="2147472448" r:id="rId9"/>
    <p:sldId id="2147472461" r:id="rId10"/>
    <p:sldId id="2147471176" r:id="rId11"/>
    <p:sldId id="2147472460" r:id="rId12"/>
    <p:sldId id="2305" r:id="rId13"/>
    <p:sldId id="2147472462" r:id="rId14"/>
    <p:sldId id="2147472457" r:id="rId15"/>
    <p:sldId id="2147472453" r:id="rId16"/>
    <p:sldId id="2147470935" r:id="rId17"/>
    <p:sldId id="2147472463" r:id="rId18"/>
    <p:sldId id="2147472458" r:id="rId19"/>
    <p:sldId id="2147472437" r:id="rId20"/>
    <p:sldId id="214747245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250"/>
    <a:srgbClr val="9BD1D1"/>
    <a:srgbClr val="B1DED7"/>
    <a:srgbClr val="F5F5F5"/>
    <a:srgbClr val="FFFFFF"/>
    <a:srgbClr val="5EEAD4"/>
    <a:srgbClr val="2DD4BF"/>
    <a:srgbClr val="0D94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725004-B478-C281-42B6-F495256490D9}" v="33" dt="2026-01-17T19:37:55.274"/>
    <p1510:client id="{B89463AA-88F3-F26C-3475-E9A06F000E97}" v="93" dt="2026-01-17T08:10:53.300"/>
    <p1510:client id="{C70DB4F5-2766-51AB-AC15-3B510C078A50}" v="4" dt="2026-01-18T22:36:16.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ed Azmi Alkurd" userId="S::kalkurd@gmu.edu::d8a8490c-4d79-451d-b1ff-270e6eecfde3" providerId="AD" clId="Web-{697F31E3-440B-AEEC-8D40-316F581371FA}"/>
    <pc:docChg chg="modSld modMainMaster">
      <pc:chgData name="Khaled Azmi Alkurd" userId="S::kalkurd@gmu.edu::d8a8490c-4d79-451d-b1ff-270e6eecfde3" providerId="AD" clId="Web-{697F31E3-440B-AEEC-8D40-316F581371FA}" dt="2026-01-12T10:34:07.219" v="43" actId="20577"/>
      <pc:docMkLst>
        <pc:docMk/>
      </pc:docMkLst>
      <pc:sldChg chg="modSp">
        <pc:chgData name="Khaled Azmi Alkurd" userId="S::kalkurd@gmu.edu::d8a8490c-4d79-451d-b1ff-270e6eecfde3" providerId="AD" clId="Web-{697F31E3-440B-AEEC-8D40-316F581371FA}" dt="2026-01-12T10:33:07.891" v="29" actId="1076"/>
        <pc:sldMkLst>
          <pc:docMk/>
          <pc:sldMk cId="3246686144" sldId="2147471452"/>
        </pc:sldMkLst>
        <pc:spChg chg="mod">
          <ac:chgData name="Khaled Azmi Alkurd" userId="S::kalkurd@gmu.edu::d8a8490c-4d79-451d-b1ff-270e6eecfde3" providerId="AD" clId="Web-{697F31E3-440B-AEEC-8D40-316F581371FA}" dt="2026-01-12T10:33:07.844" v="26" actId="1076"/>
          <ac:spMkLst>
            <pc:docMk/>
            <pc:sldMk cId="3246686144" sldId="2147471452"/>
            <ac:spMk id="25" creationId="{9A663CB6-1C24-D4E7-AFB0-65866BE3F43B}"/>
          </ac:spMkLst>
        </pc:spChg>
        <pc:spChg chg="mod">
          <ac:chgData name="Khaled Azmi Alkurd" userId="S::kalkurd@gmu.edu::d8a8490c-4d79-451d-b1ff-270e6eecfde3" providerId="AD" clId="Web-{697F31E3-440B-AEEC-8D40-316F581371FA}" dt="2026-01-12T10:33:07.859" v="27" actId="1076"/>
          <ac:spMkLst>
            <pc:docMk/>
            <pc:sldMk cId="3246686144" sldId="2147471452"/>
            <ac:spMk id="27" creationId="{3DB68407-4176-EA82-8579-D944E7E7F84D}"/>
          </ac:spMkLst>
        </pc:spChg>
        <pc:spChg chg="mod">
          <ac:chgData name="Khaled Azmi Alkurd" userId="S::kalkurd@gmu.edu::d8a8490c-4d79-451d-b1ff-270e6eecfde3" providerId="AD" clId="Web-{697F31E3-440B-AEEC-8D40-316F581371FA}" dt="2026-01-12T10:33:07.875" v="28" actId="1076"/>
          <ac:spMkLst>
            <pc:docMk/>
            <pc:sldMk cId="3246686144" sldId="2147471452"/>
            <ac:spMk id="29" creationId="{6C42F0C2-86A3-12E4-7A35-C4CED0EDBB87}"/>
          </ac:spMkLst>
        </pc:spChg>
        <pc:spChg chg="mod">
          <ac:chgData name="Khaled Azmi Alkurd" userId="S::kalkurd@gmu.edu::d8a8490c-4d79-451d-b1ff-270e6eecfde3" providerId="AD" clId="Web-{697F31E3-440B-AEEC-8D40-316F581371FA}" dt="2026-01-12T10:33:07.891" v="29" actId="1076"/>
          <ac:spMkLst>
            <pc:docMk/>
            <pc:sldMk cId="3246686144" sldId="2147471452"/>
            <ac:spMk id="31" creationId="{32682E78-9335-E26F-12BF-883C765ED549}"/>
          </ac:spMkLst>
        </pc:spChg>
      </pc:sldChg>
      <pc:sldChg chg="modSp">
        <pc:chgData name="Khaled Azmi Alkurd" userId="S::kalkurd@gmu.edu::d8a8490c-4d79-451d-b1ff-270e6eecfde3" providerId="AD" clId="Web-{697F31E3-440B-AEEC-8D40-316F581371FA}" dt="2026-01-12T10:34:07.219" v="43" actId="20577"/>
        <pc:sldMkLst>
          <pc:docMk/>
          <pc:sldMk cId="3720278267" sldId="2147471455"/>
        </pc:sldMkLst>
        <pc:spChg chg="mod">
          <ac:chgData name="Khaled Azmi Alkurd" userId="S::kalkurd@gmu.edu::d8a8490c-4d79-451d-b1ff-270e6eecfde3" providerId="AD" clId="Web-{697F31E3-440B-AEEC-8D40-316F581371FA}" dt="2026-01-12T10:34:07.219" v="43" actId="20577"/>
          <ac:spMkLst>
            <pc:docMk/>
            <pc:sldMk cId="3720278267" sldId="2147471455"/>
            <ac:spMk id="16" creationId="{5BDEA917-94A5-D4AD-C2B8-719462008E64}"/>
          </ac:spMkLst>
        </pc:spChg>
      </pc:sldChg>
      <pc:sldMasterChg chg="modSp mod modSldLayout">
        <pc:chgData name="Khaled Azmi Alkurd" userId="S::kalkurd@gmu.edu::d8a8490c-4d79-451d-b1ff-270e6eecfde3" providerId="AD" clId="Web-{697F31E3-440B-AEEC-8D40-316F581371FA}" dt="2026-01-12T10:32:57.125" v="25"/>
        <pc:sldMasterMkLst>
          <pc:docMk/>
          <pc:sldMasterMk cId="2460954070" sldId="2147483660"/>
        </pc:sldMasterMkLst>
        <pc:spChg chg="mod">
          <ac:chgData name="Khaled Azmi Alkurd" userId="S::kalkurd@gmu.edu::d8a8490c-4d79-451d-b1ff-270e6eecfde3" providerId="AD" clId="Web-{697F31E3-440B-AEEC-8D40-316F581371FA}" dt="2026-01-12T10:32:46.391" v="22"/>
          <ac:spMkLst>
            <pc:docMk/>
            <pc:sldMasterMk cId="2460954070" sldId="2147483660"/>
            <ac:spMk id="5" creationId="{00000000-0000-0000-0000-000000000000}"/>
          </ac:spMkLst>
        </pc:sp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2385387890" sldId="2147483661"/>
          </pc:sldLayoutMkLst>
          <pc:spChg chg="mod">
            <ac:chgData name="Khaled Azmi Alkurd" userId="S::kalkurd@gmu.edu::d8a8490c-4d79-451d-b1ff-270e6eecfde3" providerId="AD" clId="Web-{697F31E3-440B-AEEC-8D40-316F581371FA}" dt="2026-01-12T10:32:46.391" v="22"/>
            <ac:spMkLst>
              <pc:docMk/>
              <pc:sldMasterMk cId="2460954070" sldId="2147483660"/>
              <pc:sldLayoutMk cId="2385387890" sldId="2147483661"/>
              <ac:spMk id="5"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949138452" sldId="2147483662"/>
          </pc:sldLayoutMkLst>
          <pc:spChg chg="mod">
            <ac:chgData name="Khaled Azmi Alkurd" userId="S::kalkurd@gmu.edu::d8a8490c-4d79-451d-b1ff-270e6eecfde3" providerId="AD" clId="Web-{697F31E3-440B-AEEC-8D40-316F581371FA}" dt="2026-01-12T10:32:46.391" v="22"/>
            <ac:spMkLst>
              <pc:docMk/>
              <pc:sldMasterMk cId="2460954070" sldId="2147483660"/>
              <pc:sldLayoutMk cId="949138452" sldId="2147483662"/>
              <ac:spMk id="5"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2591524520" sldId="2147483663"/>
          </pc:sldLayoutMkLst>
          <pc:spChg chg="mod">
            <ac:chgData name="Khaled Azmi Alkurd" userId="S::kalkurd@gmu.edu::d8a8490c-4d79-451d-b1ff-270e6eecfde3" providerId="AD" clId="Web-{697F31E3-440B-AEEC-8D40-316F581371FA}" dt="2026-01-12T10:32:46.391" v="22"/>
            <ac:spMkLst>
              <pc:docMk/>
              <pc:sldMasterMk cId="2460954070" sldId="2147483660"/>
              <pc:sldLayoutMk cId="2591524520" sldId="2147483663"/>
              <ac:spMk id="5"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1203092039" sldId="2147483664"/>
          </pc:sldLayoutMkLst>
          <pc:spChg chg="mod">
            <ac:chgData name="Khaled Azmi Alkurd" userId="S::kalkurd@gmu.edu::d8a8490c-4d79-451d-b1ff-270e6eecfde3" providerId="AD" clId="Web-{697F31E3-440B-AEEC-8D40-316F581371FA}" dt="2026-01-12T10:32:46.391" v="22"/>
            <ac:spMkLst>
              <pc:docMk/>
              <pc:sldMasterMk cId="2460954070" sldId="2147483660"/>
              <pc:sldLayoutMk cId="1203092039" sldId="2147483664"/>
              <ac:spMk id="6"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3733172339" sldId="2147483665"/>
          </pc:sldLayoutMkLst>
          <pc:spChg chg="mod">
            <ac:chgData name="Khaled Azmi Alkurd" userId="S::kalkurd@gmu.edu::d8a8490c-4d79-451d-b1ff-270e6eecfde3" providerId="AD" clId="Web-{697F31E3-440B-AEEC-8D40-316F581371FA}" dt="2026-01-12T10:32:46.391" v="22"/>
            <ac:spMkLst>
              <pc:docMk/>
              <pc:sldMasterMk cId="2460954070" sldId="2147483660"/>
              <pc:sldLayoutMk cId="3733172339" sldId="2147483665"/>
              <ac:spMk id="8"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3210312558" sldId="2147483666"/>
          </pc:sldLayoutMkLst>
          <pc:spChg chg="mod">
            <ac:chgData name="Khaled Azmi Alkurd" userId="S::kalkurd@gmu.edu::d8a8490c-4d79-451d-b1ff-270e6eecfde3" providerId="AD" clId="Web-{697F31E3-440B-AEEC-8D40-316F581371FA}" dt="2026-01-12T10:32:46.391" v="22"/>
            <ac:spMkLst>
              <pc:docMk/>
              <pc:sldMasterMk cId="2460954070" sldId="2147483660"/>
              <pc:sldLayoutMk cId="3210312558" sldId="2147483666"/>
              <ac:spMk id="4"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3146388984" sldId="2147483667"/>
          </pc:sldLayoutMkLst>
          <pc:spChg chg="mod">
            <ac:chgData name="Khaled Azmi Alkurd" userId="S::kalkurd@gmu.edu::d8a8490c-4d79-451d-b1ff-270e6eecfde3" providerId="AD" clId="Web-{697F31E3-440B-AEEC-8D40-316F581371FA}" dt="2026-01-12T10:32:46.391" v="22"/>
            <ac:spMkLst>
              <pc:docMk/>
              <pc:sldMasterMk cId="2460954070" sldId="2147483660"/>
              <pc:sldLayoutMk cId="3146388984" sldId="2147483667"/>
              <ac:spMk id="3"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3171841454" sldId="2147483668"/>
          </pc:sldLayoutMkLst>
          <pc:spChg chg="mod">
            <ac:chgData name="Khaled Azmi Alkurd" userId="S::kalkurd@gmu.edu::d8a8490c-4d79-451d-b1ff-270e6eecfde3" providerId="AD" clId="Web-{697F31E3-440B-AEEC-8D40-316F581371FA}" dt="2026-01-12T10:32:46.391" v="22"/>
            <ac:spMkLst>
              <pc:docMk/>
              <pc:sldMasterMk cId="2460954070" sldId="2147483660"/>
              <pc:sldLayoutMk cId="3171841454" sldId="2147483668"/>
              <ac:spMk id="6"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1718958274" sldId="2147483669"/>
          </pc:sldLayoutMkLst>
          <pc:spChg chg="mod">
            <ac:chgData name="Khaled Azmi Alkurd" userId="S::kalkurd@gmu.edu::d8a8490c-4d79-451d-b1ff-270e6eecfde3" providerId="AD" clId="Web-{697F31E3-440B-AEEC-8D40-316F581371FA}" dt="2026-01-12T10:32:46.391" v="22"/>
            <ac:spMkLst>
              <pc:docMk/>
              <pc:sldMasterMk cId="2460954070" sldId="2147483660"/>
              <pc:sldLayoutMk cId="1718958274" sldId="2147483669"/>
              <ac:spMk id="6"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2202905451" sldId="2147483670"/>
          </pc:sldLayoutMkLst>
          <pc:spChg chg="mod">
            <ac:chgData name="Khaled Azmi Alkurd" userId="S::kalkurd@gmu.edu::d8a8490c-4d79-451d-b1ff-270e6eecfde3" providerId="AD" clId="Web-{697F31E3-440B-AEEC-8D40-316F581371FA}" dt="2026-01-12T10:32:46.391" v="22"/>
            <ac:spMkLst>
              <pc:docMk/>
              <pc:sldMasterMk cId="2460954070" sldId="2147483660"/>
              <pc:sldLayoutMk cId="2202905451" sldId="2147483670"/>
              <ac:spMk id="5" creationId="{00000000-0000-0000-0000-000000000000}"/>
            </ac:spMkLst>
          </pc:spChg>
        </pc:sldLayoutChg>
        <pc:sldLayoutChg chg="modSp mod">
          <pc:chgData name="Khaled Azmi Alkurd" userId="S::kalkurd@gmu.edu::d8a8490c-4d79-451d-b1ff-270e6eecfde3" providerId="AD" clId="Web-{697F31E3-440B-AEEC-8D40-316F581371FA}" dt="2026-01-12T10:32:57.125" v="25"/>
          <pc:sldLayoutMkLst>
            <pc:docMk/>
            <pc:sldMasterMk cId="2460954070" sldId="2147483660"/>
            <pc:sldLayoutMk cId="3479445657" sldId="2147483671"/>
          </pc:sldLayoutMkLst>
          <pc:spChg chg="mod">
            <ac:chgData name="Khaled Azmi Alkurd" userId="S::kalkurd@gmu.edu::d8a8490c-4d79-451d-b1ff-270e6eecfde3" providerId="AD" clId="Web-{697F31E3-440B-AEEC-8D40-316F581371FA}" dt="2026-01-12T10:32:46.391" v="22"/>
            <ac:spMkLst>
              <pc:docMk/>
              <pc:sldMasterMk cId="2460954070" sldId="2147483660"/>
              <pc:sldLayoutMk cId="3479445657" sldId="2147483671"/>
              <ac:spMk id="5" creationId="{00000000-0000-0000-0000-000000000000}"/>
            </ac:spMkLst>
          </pc:spChg>
        </pc:sldLayoutChg>
        <pc:sldLayoutChg chg="mod">
          <pc:chgData name="Khaled Azmi Alkurd" userId="S::kalkurd@gmu.edu::d8a8490c-4d79-451d-b1ff-270e6eecfde3" providerId="AD" clId="Web-{697F31E3-440B-AEEC-8D40-316F581371FA}" dt="2026-01-12T10:32:57.125" v="25"/>
          <pc:sldLayoutMkLst>
            <pc:docMk/>
            <pc:sldMasterMk cId="2460954070" sldId="2147483660"/>
            <pc:sldLayoutMk cId="1030576701" sldId="2147483672"/>
          </pc:sldLayoutMkLst>
        </pc:sldLayoutChg>
        <pc:sldLayoutChg chg="mod">
          <pc:chgData name="Khaled Azmi Alkurd" userId="S::kalkurd@gmu.edu::d8a8490c-4d79-451d-b1ff-270e6eecfde3" providerId="AD" clId="Web-{697F31E3-440B-AEEC-8D40-316F581371FA}" dt="2026-01-12T10:32:57.125" v="25"/>
          <pc:sldLayoutMkLst>
            <pc:docMk/>
            <pc:sldMasterMk cId="2460954070" sldId="2147483660"/>
            <pc:sldLayoutMk cId="356153768" sldId="2147483673"/>
          </pc:sldLayoutMkLst>
        </pc:sldLayoutChg>
        <pc:sldLayoutChg chg="mod">
          <pc:chgData name="Khaled Azmi Alkurd" userId="S::kalkurd@gmu.edu::d8a8490c-4d79-451d-b1ff-270e6eecfde3" providerId="AD" clId="Web-{697F31E3-440B-AEEC-8D40-316F581371FA}" dt="2026-01-12T10:32:57.125" v="25"/>
          <pc:sldLayoutMkLst>
            <pc:docMk/>
            <pc:sldMasterMk cId="2460954070" sldId="2147483660"/>
            <pc:sldLayoutMk cId="4291013893" sldId="2147483674"/>
          </pc:sldLayoutMkLst>
        </pc:sldLayoutChg>
      </pc:sldMasterChg>
    </pc:docChg>
  </pc:docChgLst>
  <pc:docChgLst>
    <pc:chgData name="Khaled Azmi Alkurd" userId="S::kalkurd@gmu.edu::d8a8490c-4d79-451d-b1ff-270e6eecfde3" providerId="AD" clId="Web-{D7E4C38A-710C-C801-C971-B3AD46C8A4EA}"/>
    <pc:docChg chg="addSld delSld modSld sldOrd">
      <pc:chgData name="Khaled Azmi Alkurd" userId="S::kalkurd@gmu.edu::d8a8490c-4d79-451d-b1ff-270e6eecfde3" providerId="AD" clId="Web-{D7E4C38A-710C-C801-C971-B3AD46C8A4EA}" dt="2026-01-12T12:50:31.462" v="1191" actId="1076"/>
      <pc:docMkLst>
        <pc:docMk/>
      </pc:docMkLst>
      <pc:sldChg chg="modSp">
        <pc:chgData name="Khaled Azmi Alkurd" userId="S::kalkurd@gmu.edu::d8a8490c-4d79-451d-b1ff-270e6eecfde3" providerId="AD" clId="Web-{D7E4C38A-710C-C801-C971-B3AD46C8A4EA}" dt="2026-01-12T12:34:55.380" v="1094" actId="20577"/>
        <pc:sldMkLst>
          <pc:docMk/>
          <pc:sldMk cId="3246686144" sldId="2147471452"/>
        </pc:sldMkLst>
        <pc:spChg chg="mod">
          <ac:chgData name="Khaled Azmi Alkurd" userId="S::kalkurd@gmu.edu::d8a8490c-4d79-451d-b1ff-270e6eecfde3" providerId="AD" clId="Web-{D7E4C38A-710C-C801-C971-B3AD46C8A4EA}" dt="2026-01-12T12:34:55.380" v="1094" actId="20577"/>
          <ac:spMkLst>
            <pc:docMk/>
            <pc:sldMk cId="3246686144" sldId="2147471452"/>
            <ac:spMk id="19" creationId="{B3242CC5-6649-DED9-AEDD-2D260F631E2E}"/>
          </ac:spMkLst>
        </pc:spChg>
      </pc:sldChg>
      <pc:sldChg chg="addSp delSp modSp">
        <pc:chgData name="Khaled Azmi Alkurd" userId="S::kalkurd@gmu.edu::d8a8490c-4d79-451d-b1ff-270e6eecfde3" providerId="AD" clId="Web-{D7E4C38A-710C-C801-C971-B3AD46C8A4EA}" dt="2026-01-12T12:47:18.656" v="1171" actId="1076"/>
        <pc:sldMkLst>
          <pc:docMk/>
          <pc:sldMk cId="3720278267" sldId="2147471455"/>
        </pc:sldMkLst>
        <pc:spChg chg="mod">
          <ac:chgData name="Khaled Azmi Alkurd" userId="S::kalkurd@gmu.edu::d8a8490c-4d79-451d-b1ff-270e6eecfde3" providerId="AD" clId="Web-{D7E4C38A-710C-C801-C971-B3AD46C8A4EA}" dt="2026-01-12T11:05:40.193" v="302"/>
          <ac:spMkLst>
            <pc:docMk/>
            <pc:sldMk cId="3720278267" sldId="2147471455"/>
            <ac:spMk id="2" creationId="{C88FED43-621D-8095-6A1E-FDD35DE4742C}"/>
          </ac:spMkLst>
        </pc:spChg>
        <pc:spChg chg="mod">
          <ac:chgData name="Khaled Azmi Alkurd" userId="S::kalkurd@gmu.edu::d8a8490c-4d79-451d-b1ff-270e6eecfde3" providerId="AD" clId="Web-{D7E4C38A-710C-C801-C971-B3AD46C8A4EA}" dt="2026-01-12T11:05:48.538" v="304" actId="20577"/>
          <ac:spMkLst>
            <pc:docMk/>
            <pc:sldMk cId="3720278267" sldId="2147471455"/>
            <ac:spMk id="15" creationId="{C14C08D9-CCEF-2276-0FEC-4440EBA8EDC9}"/>
          </ac:spMkLst>
        </pc:spChg>
        <pc:spChg chg="mod">
          <ac:chgData name="Khaled Azmi Alkurd" userId="S::kalkurd@gmu.edu::d8a8490c-4d79-451d-b1ff-270e6eecfde3" providerId="AD" clId="Web-{D7E4C38A-710C-C801-C971-B3AD46C8A4EA}" dt="2026-01-12T12:47:18.656" v="1171" actId="1076"/>
          <ac:spMkLst>
            <pc:docMk/>
            <pc:sldMk cId="3720278267" sldId="2147471455"/>
            <ac:spMk id="22" creationId="{ADB3FB28-9674-0AAE-90F2-B73A67E7812A}"/>
          </ac:spMkLst>
        </pc:spChg>
      </pc:sldChg>
      <pc:sldChg chg="addSp delSp modSp add ord">
        <pc:chgData name="Khaled Azmi Alkurd" userId="S::kalkurd@gmu.edu::d8a8490c-4d79-451d-b1ff-270e6eecfde3" providerId="AD" clId="Web-{D7E4C38A-710C-C801-C971-B3AD46C8A4EA}" dt="2026-01-12T12:48:33.770" v="1176"/>
        <pc:sldMkLst>
          <pc:docMk/>
          <pc:sldMk cId="1562903043" sldId="2147472444"/>
        </pc:sldMkLst>
        <pc:spChg chg="mod">
          <ac:chgData name="Khaled Azmi Alkurd" userId="S::kalkurd@gmu.edu::d8a8490c-4d79-451d-b1ff-270e6eecfde3" providerId="AD" clId="Web-{D7E4C38A-710C-C801-C971-B3AD46C8A4EA}" dt="2026-01-12T10:49:42.690" v="99" actId="1076"/>
          <ac:spMkLst>
            <pc:docMk/>
            <pc:sldMk cId="1562903043" sldId="2147472444"/>
            <ac:spMk id="2" creationId="{608C2C06-5250-BC22-FABD-CEEB778DC560}"/>
          </ac:spMkLst>
        </pc:spChg>
        <pc:graphicFrameChg chg="add del mod modGraphic">
          <ac:chgData name="Khaled Azmi Alkurd" userId="S::kalkurd@gmu.edu::d8a8490c-4d79-451d-b1ff-270e6eecfde3" providerId="AD" clId="Web-{D7E4C38A-710C-C801-C971-B3AD46C8A4EA}" dt="2026-01-12T12:48:33.770" v="1176"/>
          <ac:graphicFrameMkLst>
            <pc:docMk/>
            <pc:sldMk cId="1562903043" sldId="2147472444"/>
            <ac:graphicFrameMk id="26" creationId="{25BECAAD-A7F0-A6B9-5729-CE992C5AD733}"/>
          </ac:graphicFrameMkLst>
        </pc:graphicFrameChg>
        <pc:picChg chg="add mod modCrop">
          <ac:chgData name="Khaled Azmi Alkurd" userId="S::kalkurd@gmu.edu::d8a8490c-4d79-451d-b1ff-270e6eecfde3" providerId="AD" clId="Web-{D7E4C38A-710C-C801-C971-B3AD46C8A4EA}" dt="2026-01-12T11:11:17.097" v="326" actId="1076"/>
          <ac:picMkLst>
            <pc:docMk/>
            <pc:sldMk cId="1562903043" sldId="2147472444"/>
            <ac:picMk id="8" creationId="{AA906DC3-8B31-122E-ED0C-83B5D097DC57}"/>
          </ac:picMkLst>
        </pc:picChg>
        <pc:picChg chg="add mod">
          <ac:chgData name="Khaled Azmi Alkurd" userId="S::kalkurd@gmu.edu::d8a8490c-4d79-451d-b1ff-270e6eecfde3" providerId="AD" clId="Web-{D7E4C38A-710C-C801-C971-B3AD46C8A4EA}" dt="2026-01-12T11:10:59.440" v="323" actId="14100"/>
          <ac:picMkLst>
            <pc:docMk/>
            <pc:sldMk cId="1562903043" sldId="2147472444"/>
            <ac:picMk id="27" creationId="{56771E8E-0915-3F0F-9AAF-4B9BB5EDBE1A}"/>
          </ac:picMkLst>
        </pc:picChg>
      </pc:sldChg>
      <pc:sldChg chg="addSp delSp modSp add replId">
        <pc:chgData name="Khaled Azmi Alkurd" userId="S::kalkurd@gmu.edu::d8a8490c-4d79-451d-b1ff-270e6eecfde3" providerId="AD" clId="Web-{D7E4C38A-710C-C801-C971-B3AD46C8A4EA}" dt="2026-01-12T12:50:31.462" v="1191" actId="1076"/>
        <pc:sldMkLst>
          <pc:docMk/>
          <pc:sldMk cId="1998565782" sldId="2147472446"/>
        </pc:sldMkLst>
        <pc:spChg chg="mod">
          <ac:chgData name="Khaled Azmi Alkurd" userId="S::kalkurd@gmu.edu::d8a8490c-4d79-451d-b1ff-270e6eecfde3" providerId="AD" clId="Web-{D7E4C38A-710C-C801-C971-B3AD46C8A4EA}" dt="2026-01-12T11:25:59.553" v="371" actId="20577"/>
          <ac:spMkLst>
            <pc:docMk/>
            <pc:sldMk cId="1998565782" sldId="2147472446"/>
            <ac:spMk id="2" creationId="{7DA4A670-4F96-D5A1-F22E-3FD36F916BB8}"/>
          </ac:spMkLst>
        </pc:spChg>
        <pc:spChg chg="add mod">
          <ac:chgData name="Khaled Azmi Alkurd" userId="S::kalkurd@gmu.edu::d8a8490c-4d79-451d-b1ff-270e6eecfde3" providerId="AD" clId="Web-{D7E4C38A-710C-C801-C971-B3AD46C8A4EA}" dt="2026-01-12T11:29:46.418" v="545" actId="20577"/>
          <ac:spMkLst>
            <pc:docMk/>
            <pc:sldMk cId="1998565782" sldId="2147472446"/>
            <ac:spMk id="6" creationId="{874100F4-C2DA-5490-EA52-81EDFBEE9C87}"/>
          </ac:spMkLst>
        </pc:spChg>
        <pc:spChg chg="add mod">
          <ac:chgData name="Khaled Azmi Alkurd" userId="S::kalkurd@gmu.edu::d8a8490c-4d79-451d-b1ff-270e6eecfde3" providerId="AD" clId="Web-{D7E4C38A-710C-C801-C971-B3AD46C8A4EA}" dt="2026-01-12T11:29:54.309" v="548" actId="20577"/>
          <ac:spMkLst>
            <pc:docMk/>
            <pc:sldMk cId="1998565782" sldId="2147472446"/>
            <ac:spMk id="7" creationId="{483F13D1-1806-229D-B661-DE96D845C2F8}"/>
          </ac:spMkLst>
        </pc:spChg>
        <pc:spChg chg="add mod">
          <ac:chgData name="Khaled Azmi Alkurd" userId="S::kalkurd@gmu.edu::d8a8490c-4d79-451d-b1ff-270e6eecfde3" providerId="AD" clId="Web-{D7E4C38A-710C-C801-C971-B3AD46C8A4EA}" dt="2026-01-12T11:30:01.824" v="551" actId="20577"/>
          <ac:spMkLst>
            <pc:docMk/>
            <pc:sldMk cId="1998565782" sldId="2147472446"/>
            <ac:spMk id="9" creationId="{D8B20DA1-F1A3-9657-3380-9BC575936083}"/>
          </ac:spMkLst>
        </pc:spChg>
        <pc:spChg chg="add mod">
          <ac:chgData name="Khaled Azmi Alkurd" userId="S::kalkurd@gmu.edu::d8a8490c-4d79-451d-b1ff-270e6eecfde3" providerId="AD" clId="Web-{D7E4C38A-710C-C801-C971-B3AD46C8A4EA}" dt="2026-01-12T11:30:54.200" v="564" actId="1076"/>
          <ac:spMkLst>
            <pc:docMk/>
            <pc:sldMk cId="1998565782" sldId="2147472446"/>
            <ac:spMk id="10" creationId="{056CDA96-F733-A44D-9102-93A88BB200C8}"/>
          </ac:spMkLst>
        </pc:spChg>
        <pc:spChg chg="add mod">
          <ac:chgData name="Khaled Azmi Alkurd" userId="S::kalkurd@gmu.edu::d8a8490c-4d79-451d-b1ff-270e6eecfde3" providerId="AD" clId="Web-{D7E4C38A-710C-C801-C971-B3AD46C8A4EA}" dt="2026-01-12T11:30:38.669" v="562" actId="1076"/>
          <ac:spMkLst>
            <pc:docMk/>
            <pc:sldMk cId="1998565782" sldId="2147472446"/>
            <ac:spMk id="11" creationId="{E84E63EC-ACF1-422A-D72E-10CDC12D4707}"/>
          </ac:spMkLst>
        </pc:spChg>
        <pc:spChg chg="add mod">
          <ac:chgData name="Khaled Azmi Alkurd" userId="S::kalkurd@gmu.edu::d8a8490c-4d79-451d-b1ff-270e6eecfde3" providerId="AD" clId="Web-{D7E4C38A-710C-C801-C971-B3AD46C8A4EA}" dt="2026-01-12T11:30:43.513" v="563" actId="1076"/>
          <ac:spMkLst>
            <pc:docMk/>
            <pc:sldMk cId="1998565782" sldId="2147472446"/>
            <ac:spMk id="12" creationId="{0DDA3504-D18A-BB61-6BAA-6707B83E2D1C}"/>
          </ac:spMkLst>
        </pc:spChg>
        <pc:spChg chg="add mod">
          <ac:chgData name="Khaled Azmi Alkurd" userId="S::kalkurd@gmu.edu::d8a8490c-4d79-451d-b1ff-270e6eecfde3" providerId="AD" clId="Web-{D7E4C38A-710C-C801-C971-B3AD46C8A4EA}" dt="2026-01-12T12:50:31.462" v="1191" actId="1076"/>
          <ac:spMkLst>
            <pc:docMk/>
            <pc:sldMk cId="1998565782" sldId="2147472446"/>
            <ac:spMk id="17" creationId="{F00FB85E-648C-C0E7-E137-F3A233ED4C78}"/>
          </ac:spMkLst>
        </pc:spChg>
        <pc:picChg chg="add mod modCrop">
          <ac:chgData name="Khaled Azmi Alkurd" userId="S::kalkurd@gmu.edu::d8a8490c-4d79-451d-b1ff-270e6eecfde3" providerId="AD" clId="Web-{D7E4C38A-710C-C801-C971-B3AD46C8A4EA}" dt="2026-01-12T11:27:45.744" v="393" actId="1076"/>
          <ac:picMkLst>
            <pc:docMk/>
            <pc:sldMk cId="1998565782" sldId="2147472446"/>
            <ac:picMk id="4" creationId="{331E6B17-26A5-E4DF-3406-F922AE0B9D0B}"/>
          </ac:picMkLst>
        </pc:picChg>
      </pc:sldChg>
      <pc:sldChg chg="addSp delSp modSp add replId">
        <pc:chgData name="Khaled Azmi Alkurd" userId="S::kalkurd@gmu.edu::d8a8490c-4d79-451d-b1ff-270e6eecfde3" providerId="AD" clId="Web-{D7E4C38A-710C-C801-C971-B3AD46C8A4EA}" dt="2026-01-12T12:49:23.616" v="1186" actId="14100"/>
        <pc:sldMkLst>
          <pc:docMk/>
          <pc:sldMk cId="1561532402" sldId="2147472447"/>
        </pc:sldMkLst>
        <pc:spChg chg="mod">
          <ac:chgData name="Khaled Azmi Alkurd" userId="S::kalkurd@gmu.edu::d8a8490c-4d79-451d-b1ff-270e6eecfde3" providerId="AD" clId="Web-{D7E4C38A-710C-C801-C971-B3AD46C8A4EA}" dt="2026-01-12T12:49:23.616" v="1186" actId="14100"/>
          <ac:spMkLst>
            <pc:docMk/>
            <pc:sldMk cId="1561532402" sldId="2147472447"/>
            <ac:spMk id="2" creationId="{001A9AC7-FC64-59B5-0770-0482ECDC2C1B}"/>
          </ac:spMkLst>
        </pc:spChg>
        <pc:spChg chg="add">
          <ac:chgData name="Khaled Azmi Alkurd" userId="S::kalkurd@gmu.edu::d8a8490c-4d79-451d-b1ff-270e6eecfde3" providerId="AD" clId="Web-{D7E4C38A-710C-C801-C971-B3AD46C8A4EA}" dt="2026-01-12T12:05:46.340" v="811"/>
          <ac:spMkLst>
            <pc:docMk/>
            <pc:sldMk cId="1561532402" sldId="2147472447"/>
            <ac:spMk id="16" creationId="{9B190FFE-9C86-EC9F-51AD-4C370C1E65D7}"/>
          </ac:spMkLst>
        </pc:spChg>
        <pc:spChg chg="add mod">
          <ac:chgData name="Khaled Azmi Alkurd" userId="S::kalkurd@gmu.edu::d8a8490c-4d79-451d-b1ff-270e6eecfde3" providerId="AD" clId="Web-{D7E4C38A-710C-C801-C971-B3AD46C8A4EA}" dt="2026-01-12T12:43:50.326" v="1102" actId="1076"/>
          <ac:spMkLst>
            <pc:docMk/>
            <pc:sldMk cId="1561532402" sldId="2147472447"/>
            <ac:spMk id="21" creationId="{6E8ED707-1F75-C522-B9D2-2B531C27E3E9}"/>
          </ac:spMkLst>
        </pc:spChg>
        <pc:spChg chg="add mod">
          <ac:chgData name="Khaled Azmi Alkurd" userId="S::kalkurd@gmu.edu::d8a8490c-4d79-451d-b1ff-270e6eecfde3" providerId="AD" clId="Web-{D7E4C38A-710C-C801-C971-B3AD46C8A4EA}" dt="2026-01-12T12:11:43.562" v="861" actId="20577"/>
          <ac:spMkLst>
            <pc:docMk/>
            <pc:sldMk cId="1561532402" sldId="2147472447"/>
            <ac:spMk id="24" creationId="{0F2D2172-1A0B-4E5D-3A0A-C8AB7AD8AF9E}"/>
          </ac:spMkLst>
        </pc:spChg>
        <pc:spChg chg="add mod">
          <ac:chgData name="Khaled Azmi Alkurd" userId="S::kalkurd@gmu.edu::d8a8490c-4d79-451d-b1ff-270e6eecfde3" providerId="AD" clId="Web-{D7E4C38A-710C-C801-C971-B3AD46C8A4EA}" dt="2026-01-12T12:25:05.755" v="980" actId="1076"/>
          <ac:spMkLst>
            <pc:docMk/>
            <pc:sldMk cId="1561532402" sldId="2147472447"/>
            <ac:spMk id="25" creationId="{90362B15-DB14-6558-5DDA-3292D5BD7A3A}"/>
          </ac:spMkLst>
        </pc:spChg>
        <pc:spChg chg="add mod">
          <ac:chgData name="Khaled Azmi Alkurd" userId="S::kalkurd@gmu.edu::d8a8490c-4d79-451d-b1ff-270e6eecfde3" providerId="AD" clId="Web-{D7E4C38A-710C-C801-C971-B3AD46C8A4EA}" dt="2026-01-12T12:27:13.272" v="988" actId="1076"/>
          <ac:spMkLst>
            <pc:docMk/>
            <pc:sldMk cId="1561532402" sldId="2147472447"/>
            <ac:spMk id="27" creationId="{86BD19CC-45F1-554C-FE4B-28A560AFE7F2}"/>
          </ac:spMkLst>
        </pc:spChg>
        <pc:spChg chg="add del mod">
          <ac:chgData name="Khaled Azmi Alkurd" userId="S::kalkurd@gmu.edu::d8a8490c-4d79-451d-b1ff-270e6eecfde3" providerId="AD" clId="Web-{D7E4C38A-710C-C801-C971-B3AD46C8A4EA}" dt="2026-01-12T12:27:57.960" v="1013" actId="1076"/>
          <ac:spMkLst>
            <pc:docMk/>
            <pc:sldMk cId="1561532402" sldId="2147472447"/>
            <ac:spMk id="28" creationId="{25E6778B-60F8-A977-EC32-9AD220982204}"/>
          </ac:spMkLst>
        </pc:spChg>
        <pc:spChg chg="add mod">
          <ac:chgData name="Khaled Azmi Alkurd" userId="S::kalkurd@gmu.edu::d8a8490c-4d79-451d-b1ff-270e6eecfde3" providerId="AD" clId="Web-{D7E4C38A-710C-C801-C971-B3AD46C8A4EA}" dt="2026-01-12T12:30:48.791" v="1051" actId="20577"/>
          <ac:spMkLst>
            <pc:docMk/>
            <pc:sldMk cId="1561532402" sldId="2147472447"/>
            <ac:spMk id="33" creationId="{88A5AC07-3083-55D8-8415-2E9E28135110}"/>
          </ac:spMkLst>
        </pc:spChg>
        <pc:picChg chg="add mod modCrop">
          <ac:chgData name="Khaled Azmi Alkurd" userId="S::kalkurd@gmu.edu::d8a8490c-4d79-451d-b1ff-270e6eecfde3" providerId="AD" clId="Web-{D7E4C38A-710C-C801-C971-B3AD46C8A4EA}" dt="2026-01-12T12:11:48.234" v="863" actId="1076"/>
          <ac:picMkLst>
            <pc:docMk/>
            <pc:sldMk cId="1561532402" sldId="2147472447"/>
            <ac:picMk id="3" creationId="{51787F71-BC29-B74A-00D3-7C48064D9106}"/>
          </ac:picMkLst>
        </pc:picChg>
        <pc:cxnChg chg="add mod">
          <ac:chgData name="Khaled Azmi Alkurd" userId="S::kalkurd@gmu.edu::d8a8490c-4d79-451d-b1ff-270e6eecfde3" providerId="AD" clId="Web-{D7E4C38A-710C-C801-C971-B3AD46C8A4EA}" dt="2026-01-12T12:24:57.989" v="978" actId="1076"/>
          <ac:cxnSpMkLst>
            <pc:docMk/>
            <pc:sldMk cId="1561532402" sldId="2147472447"/>
            <ac:cxnSpMk id="32" creationId="{09ACE60B-B227-DF92-FBEF-1639BC016F3A}"/>
          </ac:cxnSpMkLst>
        </pc:cxnChg>
      </pc:sldChg>
    </pc:docChg>
  </pc:docChgLst>
  <pc:docChgLst>
    <pc:chgData name="Marmawite T Debas" userId="S::mdebas@gmu.edu::0027610f-a03a-422b-84df-f8af5dfca277" providerId="AD" clId="Web-{18ECBDB0-7EED-1015-9E6E-596E64575229}"/>
    <pc:docChg chg="addSld modSld">
      <pc:chgData name="Marmawite T Debas" userId="S::mdebas@gmu.edu::0027610f-a03a-422b-84df-f8af5dfca277" providerId="AD" clId="Web-{18ECBDB0-7EED-1015-9E6E-596E64575229}" dt="2026-01-14T21:24:07.015" v="691"/>
      <pc:docMkLst>
        <pc:docMk/>
      </pc:docMkLst>
      <pc:sldChg chg="modSp modNotes">
        <pc:chgData name="Marmawite T Debas" userId="S::mdebas@gmu.edu::0027610f-a03a-422b-84df-f8af5dfca277" providerId="AD" clId="Web-{18ECBDB0-7EED-1015-9E6E-596E64575229}" dt="2026-01-14T21:24:07.015" v="691"/>
        <pc:sldMkLst>
          <pc:docMk/>
          <pc:sldMk cId="158379550" sldId="2305"/>
        </pc:sldMkLst>
        <pc:spChg chg="mod">
          <ac:chgData name="Marmawite T Debas" userId="S::mdebas@gmu.edu::0027610f-a03a-422b-84df-f8af5dfca277" providerId="AD" clId="Web-{18ECBDB0-7EED-1015-9E6E-596E64575229}" dt="2026-01-14T21:13:35.728" v="654" actId="1076"/>
          <ac:spMkLst>
            <pc:docMk/>
            <pc:sldMk cId="158379550" sldId="2305"/>
            <ac:spMk id="11" creationId="{32186C7D-75CD-BBC1-C204-DBE4F03D95CA}"/>
          </ac:spMkLst>
        </pc:spChg>
        <pc:picChg chg="mod">
          <ac:chgData name="Marmawite T Debas" userId="S::mdebas@gmu.edu::0027610f-a03a-422b-84df-f8af5dfca277" providerId="AD" clId="Web-{18ECBDB0-7EED-1015-9E6E-596E64575229}" dt="2026-01-14T21:13:48.650" v="658" actId="14100"/>
          <ac:picMkLst>
            <pc:docMk/>
            <pc:sldMk cId="158379550" sldId="2305"/>
            <ac:picMk id="7" creationId="{FB5BBEAD-0096-75C4-3976-3D0584290E61}"/>
          </ac:picMkLst>
        </pc:picChg>
        <pc:picChg chg="mod">
          <ac:chgData name="Marmawite T Debas" userId="S::mdebas@gmu.edu::0027610f-a03a-422b-84df-f8af5dfca277" providerId="AD" clId="Web-{18ECBDB0-7EED-1015-9E6E-596E64575229}" dt="2026-01-14T21:13:49.384" v="659" actId="1076"/>
          <ac:picMkLst>
            <pc:docMk/>
            <pc:sldMk cId="158379550" sldId="2305"/>
            <ac:picMk id="13" creationId="{E93EF240-67BD-DF2E-11BB-645D330E520F}"/>
          </ac:picMkLst>
        </pc:picChg>
      </pc:sldChg>
      <pc:sldChg chg="addSp delSp modSp">
        <pc:chgData name="Marmawite T Debas" userId="S::mdebas@gmu.edu::0027610f-a03a-422b-84df-f8af5dfca277" providerId="AD" clId="Web-{18ECBDB0-7EED-1015-9E6E-596E64575229}" dt="2026-01-14T19:25:37.627" v="322" actId="1076"/>
        <pc:sldMkLst>
          <pc:docMk/>
          <pc:sldMk cId="3572240398" sldId="2147470985"/>
        </pc:sldMkLst>
        <pc:spChg chg="add mod">
          <ac:chgData name="Marmawite T Debas" userId="S::mdebas@gmu.edu::0027610f-a03a-422b-84df-f8af5dfca277" providerId="AD" clId="Web-{18ECBDB0-7EED-1015-9E6E-596E64575229}" dt="2026-01-14T19:02:25.774" v="72" actId="1076"/>
          <ac:spMkLst>
            <pc:docMk/>
            <pc:sldMk cId="3572240398" sldId="2147470985"/>
            <ac:spMk id="11" creationId="{102DCD87-6854-1F7B-1C73-DF150A43F62F}"/>
          </ac:spMkLst>
        </pc:spChg>
        <pc:spChg chg="add mod">
          <ac:chgData name="Marmawite T Debas" userId="S::mdebas@gmu.edu::0027610f-a03a-422b-84df-f8af5dfca277" providerId="AD" clId="Web-{18ECBDB0-7EED-1015-9E6E-596E64575229}" dt="2026-01-14T19:03:54.014" v="106" actId="14100"/>
          <ac:spMkLst>
            <pc:docMk/>
            <pc:sldMk cId="3572240398" sldId="2147470985"/>
            <ac:spMk id="12" creationId="{65E1CF06-9E8E-FF83-84EC-A5389403EA20}"/>
          </ac:spMkLst>
        </pc:spChg>
        <pc:spChg chg="add mod">
          <ac:chgData name="Marmawite T Debas" userId="S::mdebas@gmu.edu::0027610f-a03a-422b-84df-f8af5dfca277" providerId="AD" clId="Web-{18ECBDB0-7EED-1015-9E6E-596E64575229}" dt="2026-01-14T19:04:59.750" v="145" actId="14100"/>
          <ac:spMkLst>
            <pc:docMk/>
            <pc:sldMk cId="3572240398" sldId="2147470985"/>
            <ac:spMk id="13" creationId="{20487F84-8FE3-8DC0-D107-902DADC7ED8B}"/>
          </ac:spMkLst>
        </pc:spChg>
        <pc:spChg chg="add del mod">
          <ac:chgData name="Marmawite T Debas" userId="S::mdebas@gmu.edu::0027610f-a03a-422b-84df-f8af5dfca277" providerId="AD" clId="Web-{18ECBDB0-7EED-1015-9E6E-596E64575229}" dt="2026-01-14T19:11:20.409" v="159"/>
          <ac:spMkLst>
            <pc:docMk/>
            <pc:sldMk cId="3572240398" sldId="2147470985"/>
            <ac:spMk id="15" creationId="{7422BD5E-83D2-85FA-74F9-3755755A69BB}"/>
          </ac:spMkLst>
        </pc:spChg>
        <pc:spChg chg="add mod">
          <ac:chgData name="Marmawite T Debas" userId="S::mdebas@gmu.edu::0027610f-a03a-422b-84df-f8af5dfca277" providerId="AD" clId="Web-{18ECBDB0-7EED-1015-9E6E-596E64575229}" dt="2026-01-14T19:25:28.346" v="320" actId="20577"/>
          <ac:spMkLst>
            <pc:docMk/>
            <pc:sldMk cId="3572240398" sldId="2147470985"/>
            <ac:spMk id="21" creationId="{41FC1D2C-CB05-9CAA-61C6-5F6E91F79468}"/>
          </ac:spMkLst>
        </pc:spChg>
        <pc:spChg chg="mod">
          <ac:chgData name="Marmawite T Debas" userId="S::mdebas@gmu.edu::0027610f-a03a-422b-84df-f8af5dfca277" providerId="AD" clId="Web-{18ECBDB0-7EED-1015-9E6E-596E64575229}" dt="2026-01-14T19:25:37.627" v="322" actId="1076"/>
          <ac:spMkLst>
            <pc:docMk/>
            <pc:sldMk cId="3572240398" sldId="2147470985"/>
            <ac:spMk id="55" creationId="{DE4F4F7A-D2BF-01DE-C10F-6DAB3AAE9F5F}"/>
          </ac:spMkLst>
        </pc:spChg>
        <pc:spChg chg="ord">
          <ac:chgData name="Marmawite T Debas" userId="S::mdebas@gmu.edu::0027610f-a03a-422b-84df-f8af5dfca277" providerId="AD" clId="Web-{18ECBDB0-7EED-1015-9E6E-596E64575229}" dt="2026-01-14T18:58:35.247" v="20"/>
          <ac:spMkLst>
            <pc:docMk/>
            <pc:sldMk cId="3572240398" sldId="2147470985"/>
            <ac:spMk id="335" creationId="{488A0927-7975-A29C-BFAC-EB20DFA6F6E8}"/>
          </ac:spMkLst>
        </pc:spChg>
        <pc:spChg chg="mod">
          <ac:chgData name="Marmawite T Debas" userId="S::mdebas@gmu.edu::0027610f-a03a-422b-84df-f8af5dfca277" providerId="AD" clId="Web-{18ECBDB0-7EED-1015-9E6E-596E64575229}" dt="2026-01-14T19:01:00.563" v="58" actId="14100"/>
          <ac:spMkLst>
            <pc:docMk/>
            <pc:sldMk cId="3572240398" sldId="2147470985"/>
            <ac:spMk id="339" creationId="{55A46607-7703-3FD3-E434-5A90D064059D}"/>
          </ac:spMkLst>
        </pc:spChg>
        <pc:spChg chg="mod">
          <ac:chgData name="Marmawite T Debas" userId="S::mdebas@gmu.edu::0027610f-a03a-422b-84df-f8af5dfca277" providerId="AD" clId="Web-{18ECBDB0-7EED-1015-9E6E-596E64575229}" dt="2026-01-14T19:00:44.922" v="53" actId="20577"/>
          <ac:spMkLst>
            <pc:docMk/>
            <pc:sldMk cId="3572240398" sldId="2147470985"/>
            <ac:spMk id="340" creationId="{EB58CB77-2141-ADC1-21E4-CE34C6C550BA}"/>
          </ac:spMkLst>
        </pc:spChg>
        <pc:picChg chg="add mod modCrop">
          <ac:chgData name="Marmawite T Debas" userId="S::mdebas@gmu.edu::0027610f-a03a-422b-84df-f8af5dfca277" providerId="AD" clId="Web-{18ECBDB0-7EED-1015-9E6E-596E64575229}" dt="2026-01-14T19:00:21.656" v="38" actId="14100"/>
          <ac:picMkLst>
            <pc:docMk/>
            <pc:sldMk cId="3572240398" sldId="2147470985"/>
            <ac:picMk id="8" creationId="{8C54B0FD-6B85-B3FA-44EA-9C172FC0FCAE}"/>
          </ac:picMkLst>
        </pc:picChg>
      </pc:sldChg>
      <pc:sldChg chg="modSp modNotes">
        <pc:chgData name="Marmawite T Debas" userId="S::mdebas@gmu.edu::0027610f-a03a-422b-84df-f8af5dfca277" providerId="AD" clId="Web-{18ECBDB0-7EED-1015-9E6E-596E64575229}" dt="2026-01-14T19:57:38.359" v="528" actId="1076"/>
        <pc:sldMkLst>
          <pc:docMk/>
          <pc:sldMk cId="1562903043" sldId="2147472444"/>
        </pc:sldMkLst>
        <pc:spChg chg="mod">
          <ac:chgData name="Marmawite T Debas" userId="S::mdebas@gmu.edu::0027610f-a03a-422b-84df-f8af5dfca277" providerId="AD" clId="Web-{18ECBDB0-7EED-1015-9E6E-596E64575229}" dt="2026-01-14T19:57:31.812" v="527" actId="1076"/>
          <ac:spMkLst>
            <pc:docMk/>
            <pc:sldMk cId="1562903043" sldId="2147472444"/>
            <ac:spMk id="5" creationId="{80838245-3971-0D9F-EE90-676912B01CF2}"/>
          </ac:spMkLst>
        </pc:spChg>
        <pc:spChg chg="mod">
          <ac:chgData name="Marmawite T Debas" userId="S::mdebas@gmu.edu::0027610f-a03a-422b-84df-f8af5dfca277" providerId="AD" clId="Web-{18ECBDB0-7EED-1015-9E6E-596E64575229}" dt="2026-01-14T19:57:26.437" v="526" actId="20577"/>
          <ac:spMkLst>
            <pc:docMk/>
            <pc:sldMk cId="1562903043" sldId="2147472444"/>
            <ac:spMk id="10" creationId="{9F432104-4B23-2D3A-C867-7B1336E52EF5}"/>
          </ac:spMkLst>
        </pc:spChg>
        <pc:graphicFrameChg chg="mod">
          <ac:chgData name="Marmawite T Debas" userId="S::mdebas@gmu.edu::0027610f-a03a-422b-84df-f8af5dfca277" providerId="AD" clId="Web-{18ECBDB0-7EED-1015-9E6E-596E64575229}" dt="2026-01-14T19:57:38.359" v="528" actId="1076"/>
          <ac:graphicFrameMkLst>
            <pc:docMk/>
            <pc:sldMk cId="1562903043" sldId="2147472444"/>
            <ac:graphicFrameMk id="26" creationId="{25BECAAD-A7F0-A6B9-5729-CE992C5AD733}"/>
          </ac:graphicFrameMkLst>
        </pc:graphicFrameChg>
      </pc:sldChg>
      <pc:sldChg chg="modNotes">
        <pc:chgData name="Marmawite T Debas" userId="S::mdebas@gmu.edu::0027610f-a03a-422b-84df-f8af5dfca277" providerId="AD" clId="Web-{18ECBDB0-7EED-1015-9E6E-596E64575229}" dt="2026-01-14T20:25:55.751" v="591"/>
        <pc:sldMkLst>
          <pc:docMk/>
          <pc:sldMk cId="1998565782" sldId="2147472446"/>
        </pc:sldMkLst>
      </pc:sldChg>
      <pc:sldChg chg="modNotes">
        <pc:chgData name="Marmawite T Debas" userId="S::mdebas@gmu.edu::0027610f-a03a-422b-84df-f8af5dfca277" providerId="AD" clId="Web-{18ECBDB0-7EED-1015-9E6E-596E64575229}" dt="2026-01-14T20:49:52.191" v="617"/>
        <pc:sldMkLst>
          <pc:docMk/>
          <pc:sldMk cId="1561532402" sldId="2147472447"/>
        </pc:sldMkLst>
      </pc:sldChg>
    </pc:docChg>
  </pc:docChgLst>
  <pc:docChgLst>
    <pc:chgData name="Khaled Azmi Alkurd" userId="S::kalkurd@gmu.edu::d8a8490c-4d79-451d-b1ff-270e6eecfde3" providerId="AD" clId="Web-{955EECD4-D2FC-85D7-9FB6-9A1A663BB6DA}"/>
    <pc:docChg chg="modSld">
      <pc:chgData name="Khaled Azmi Alkurd" userId="S::kalkurd@gmu.edu::d8a8490c-4d79-451d-b1ff-270e6eecfde3" providerId="AD" clId="Web-{955EECD4-D2FC-85D7-9FB6-9A1A663BB6DA}" dt="2026-01-14T05:44:38.326" v="326"/>
      <pc:docMkLst>
        <pc:docMk/>
      </pc:docMkLst>
      <pc:sldChg chg="addSp delSp modSp">
        <pc:chgData name="Khaled Azmi Alkurd" userId="S::kalkurd@gmu.edu::d8a8490c-4d79-451d-b1ff-270e6eecfde3" providerId="AD" clId="Web-{955EECD4-D2FC-85D7-9FB6-9A1A663BB6DA}" dt="2026-01-14T05:44:38.326" v="326"/>
        <pc:sldMkLst>
          <pc:docMk/>
          <pc:sldMk cId="158379550" sldId="2305"/>
        </pc:sldMkLst>
        <pc:spChg chg="add mod">
          <ac:chgData name="Khaled Azmi Alkurd" userId="S::kalkurd@gmu.edu::d8a8490c-4d79-451d-b1ff-270e6eecfde3" providerId="AD" clId="Web-{955EECD4-D2FC-85D7-9FB6-9A1A663BB6DA}" dt="2026-01-14T05:40:07.403" v="94" actId="14100"/>
          <ac:spMkLst>
            <pc:docMk/>
            <pc:sldMk cId="158379550" sldId="2305"/>
            <ac:spMk id="15" creationId="{FAE75441-B241-979C-E020-D7F482215BE9}"/>
          </ac:spMkLst>
        </pc:spChg>
        <pc:spChg chg="add">
          <ac:chgData name="Khaled Azmi Alkurd" userId="S::kalkurd@gmu.edu::d8a8490c-4d79-451d-b1ff-270e6eecfde3" providerId="AD" clId="Web-{955EECD4-D2FC-85D7-9FB6-9A1A663BB6DA}" dt="2026-01-14T05:42:07.506" v="116"/>
          <ac:spMkLst>
            <pc:docMk/>
            <pc:sldMk cId="158379550" sldId="2305"/>
            <ac:spMk id="19" creationId="{5F0D5A97-579D-8005-A643-50F4A06CE175}"/>
          </ac:spMkLst>
        </pc:spChg>
        <pc:spChg chg="add mod">
          <ac:chgData name="Khaled Azmi Alkurd" userId="S::kalkurd@gmu.edu::d8a8490c-4d79-451d-b1ff-270e6eecfde3" providerId="AD" clId="Web-{955EECD4-D2FC-85D7-9FB6-9A1A663BB6DA}" dt="2026-01-14T05:42:44.695" v="122" actId="1076"/>
          <ac:spMkLst>
            <pc:docMk/>
            <pc:sldMk cId="158379550" sldId="2305"/>
            <ac:spMk id="23" creationId="{2CD1DBE9-D19F-5D07-D807-8FBD2CD4A94B}"/>
          </ac:spMkLst>
        </pc:spChg>
        <pc:graphicFrameChg chg="add mod modGraphic">
          <ac:chgData name="Khaled Azmi Alkurd" userId="S::kalkurd@gmu.edu::d8a8490c-4d79-451d-b1ff-270e6eecfde3" providerId="AD" clId="Web-{955EECD4-D2FC-85D7-9FB6-9A1A663BB6DA}" dt="2026-01-14T05:44:38.326" v="326"/>
          <ac:graphicFrameMkLst>
            <pc:docMk/>
            <pc:sldMk cId="158379550" sldId="2305"/>
            <ac:graphicFrameMk id="17" creationId="{E5968284-9449-950F-F3F2-03B05079F257}"/>
          </ac:graphicFrameMkLst>
        </pc:graphicFrameChg>
      </pc:sldChg>
      <pc:sldChg chg="addSp modSp">
        <pc:chgData name="Khaled Azmi Alkurd" userId="S::kalkurd@gmu.edu::d8a8490c-4d79-451d-b1ff-270e6eecfde3" providerId="AD" clId="Web-{955EECD4-D2FC-85D7-9FB6-9A1A663BB6DA}" dt="2026-01-14T05:36:15.668" v="48" actId="20577"/>
        <pc:sldMkLst>
          <pc:docMk/>
          <pc:sldMk cId="1069076631" sldId="2147471176"/>
        </pc:sldMkLst>
        <pc:spChg chg="add">
          <ac:chgData name="Khaled Azmi Alkurd" userId="S::kalkurd@gmu.edu::d8a8490c-4d79-451d-b1ff-270e6eecfde3" providerId="AD" clId="Web-{955EECD4-D2FC-85D7-9FB6-9A1A663BB6DA}" dt="2026-01-14T05:35:53.320" v="31"/>
          <ac:spMkLst>
            <pc:docMk/>
            <pc:sldMk cId="1069076631" sldId="2147471176"/>
            <ac:spMk id="4" creationId="{956DA610-1190-4180-74B8-AE3E7ECB4216}"/>
          </ac:spMkLst>
        </pc:spChg>
        <pc:spChg chg="mod">
          <ac:chgData name="Khaled Azmi Alkurd" userId="S::kalkurd@gmu.edu::d8a8490c-4d79-451d-b1ff-270e6eecfde3" providerId="AD" clId="Web-{955EECD4-D2FC-85D7-9FB6-9A1A663BB6DA}" dt="2026-01-14T05:34:10.076" v="15" actId="20577"/>
          <ac:spMkLst>
            <pc:docMk/>
            <pc:sldMk cId="1069076631" sldId="2147471176"/>
            <ac:spMk id="5" creationId="{72A45991-FE09-63F6-1DD9-092343BE23A5}"/>
          </ac:spMkLst>
        </pc:spChg>
        <pc:spChg chg="add mod">
          <ac:chgData name="Khaled Azmi Alkurd" userId="S::kalkurd@gmu.edu::d8a8490c-4d79-451d-b1ff-270e6eecfde3" providerId="AD" clId="Web-{955EECD4-D2FC-85D7-9FB6-9A1A663BB6DA}" dt="2026-01-14T05:36:15.668" v="48" actId="20577"/>
          <ac:spMkLst>
            <pc:docMk/>
            <pc:sldMk cId="1069076631" sldId="2147471176"/>
            <ac:spMk id="13" creationId="{77FF677C-1D53-181E-212E-2127FE888C4B}"/>
          </ac:spMkLst>
        </pc:spChg>
        <pc:spChg chg="mod">
          <ac:chgData name="Khaled Azmi Alkurd" userId="S::kalkurd@gmu.edu::d8a8490c-4d79-451d-b1ff-270e6eecfde3" providerId="AD" clId="Web-{955EECD4-D2FC-85D7-9FB6-9A1A663BB6DA}" dt="2026-01-14T05:35:18.220" v="30" actId="20577"/>
          <ac:spMkLst>
            <pc:docMk/>
            <pc:sldMk cId="1069076631" sldId="2147471176"/>
            <ac:spMk id="20" creationId="{957D99E3-4D69-F302-1188-0F6440477A6C}"/>
          </ac:spMkLst>
        </pc:spChg>
      </pc:sldChg>
      <pc:sldChg chg="modSp">
        <pc:chgData name="Khaled Azmi Alkurd" userId="S::kalkurd@gmu.edu::d8a8490c-4d79-451d-b1ff-270e6eecfde3" providerId="AD" clId="Web-{955EECD4-D2FC-85D7-9FB6-9A1A663BB6DA}" dt="2026-01-14T05:33:14.746" v="14" actId="1076"/>
        <pc:sldMkLst>
          <pc:docMk/>
          <pc:sldMk cId="735017481" sldId="2147472448"/>
        </pc:sldMkLst>
        <pc:spChg chg="mod">
          <ac:chgData name="Khaled Azmi Alkurd" userId="S::kalkurd@gmu.edu::d8a8490c-4d79-451d-b1ff-270e6eecfde3" providerId="AD" clId="Web-{955EECD4-D2FC-85D7-9FB6-9A1A663BB6DA}" dt="2026-01-14T05:26:36.822" v="10" actId="20577"/>
          <ac:spMkLst>
            <pc:docMk/>
            <pc:sldMk cId="735017481" sldId="2147472448"/>
            <ac:spMk id="7" creationId="{2847D536-25ED-B1BC-A95C-232A93F2372E}"/>
          </ac:spMkLst>
        </pc:spChg>
        <pc:graphicFrameChg chg="mod modGraphic">
          <ac:chgData name="Khaled Azmi Alkurd" userId="S::kalkurd@gmu.edu::d8a8490c-4d79-451d-b1ff-270e6eecfde3" providerId="AD" clId="Web-{955EECD4-D2FC-85D7-9FB6-9A1A663BB6DA}" dt="2026-01-14T05:20:58.545" v="6"/>
          <ac:graphicFrameMkLst>
            <pc:docMk/>
            <pc:sldMk cId="735017481" sldId="2147472448"/>
            <ac:graphicFrameMk id="11" creationId="{D2DD68DC-0955-37FA-7DEF-C581C45D173A}"/>
          </ac:graphicFrameMkLst>
        </pc:graphicFrameChg>
        <pc:cxnChg chg="mod">
          <ac:chgData name="Khaled Azmi Alkurd" userId="S::kalkurd@gmu.edu::d8a8490c-4d79-451d-b1ff-270e6eecfde3" providerId="AD" clId="Web-{955EECD4-D2FC-85D7-9FB6-9A1A663BB6DA}" dt="2026-01-14T05:33:14.746" v="14" actId="1076"/>
          <ac:cxnSpMkLst>
            <pc:docMk/>
            <pc:sldMk cId="735017481" sldId="2147472448"/>
            <ac:cxnSpMk id="5" creationId="{A96E7C91-FF4E-0277-B116-2CAEE8E091E7}"/>
          </ac:cxnSpMkLst>
        </pc:cxnChg>
      </pc:sldChg>
    </pc:docChg>
  </pc:docChgLst>
  <pc:docChgLst>
    <pc:chgData name="Khaled Azmi Alkurd" userId="S::kalkurd@gmu.edu::d8a8490c-4d79-451d-b1ff-270e6eecfde3" providerId="AD" clId="Web-{D268AED2-300D-9D30-AC0D-A1FF1E7E8414}"/>
    <pc:docChg chg="modSld">
      <pc:chgData name="Khaled Azmi Alkurd" userId="S::kalkurd@gmu.edu::d8a8490c-4d79-451d-b1ff-270e6eecfde3" providerId="AD" clId="Web-{D268AED2-300D-9D30-AC0D-A1FF1E7E8414}" dt="2026-01-15T23:07:02.246" v="113" actId="1076"/>
      <pc:docMkLst>
        <pc:docMk/>
      </pc:docMkLst>
      <pc:sldChg chg="modSp">
        <pc:chgData name="Khaled Azmi Alkurd" userId="S::kalkurd@gmu.edu::d8a8490c-4d79-451d-b1ff-270e6eecfde3" providerId="AD" clId="Web-{D268AED2-300D-9D30-AC0D-A1FF1E7E8414}" dt="2026-01-15T23:03:19.278" v="68" actId="20577"/>
        <pc:sldMkLst>
          <pc:docMk/>
          <pc:sldMk cId="3246686144" sldId="2147471452"/>
        </pc:sldMkLst>
        <pc:spChg chg="mod">
          <ac:chgData name="Khaled Azmi Alkurd" userId="S::kalkurd@gmu.edu::d8a8490c-4d79-451d-b1ff-270e6eecfde3" providerId="AD" clId="Web-{D268AED2-300D-9D30-AC0D-A1FF1E7E8414}" dt="2026-01-15T23:03:19.278" v="68" actId="20577"/>
          <ac:spMkLst>
            <pc:docMk/>
            <pc:sldMk cId="3246686144" sldId="2147471452"/>
            <ac:spMk id="6" creationId="{4A690E94-3404-4288-03BC-C5BCD9961FEE}"/>
          </ac:spMkLst>
        </pc:spChg>
      </pc:sldChg>
      <pc:sldChg chg="addSp modSp">
        <pc:chgData name="Khaled Azmi Alkurd" userId="S::kalkurd@gmu.edu::d8a8490c-4d79-451d-b1ff-270e6eecfde3" providerId="AD" clId="Web-{D268AED2-300D-9D30-AC0D-A1FF1E7E8414}" dt="2026-01-15T23:02:10.633" v="51"/>
        <pc:sldMkLst>
          <pc:docMk/>
          <pc:sldMk cId="3720278267" sldId="2147471455"/>
        </pc:sldMkLst>
        <pc:spChg chg="add mod">
          <ac:chgData name="Khaled Azmi Alkurd" userId="S::kalkurd@gmu.edu::d8a8490c-4d79-451d-b1ff-270e6eecfde3" providerId="AD" clId="Web-{D268AED2-300D-9D30-AC0D-A1FF1E7E8414}" dt="2026-01-15T23:02:10.633" v="51"/>
          <ac:spMkLst>
            <pc:docMk/>
            <pc:sldMk cId="3720278267" sldId="2147471455"/>
            <ac:spMk id="17" creationId="{124A95CE-6D10-B072-0028-E83352C5EDBA}"/>
          </ac:spMkLst>
        </pc:spChg>
      </pc:sldChg>
      <pc:sldChg chg="modSp">
        <pc:chgData name="Khaled Azmi Alkurd" userId="S::kalkurd@gmu.edu::d8a8490c-4d79-451d-b1ff-270e6eecfde3" providerId="AD" clId="Web-{D268AED2-300D-9D30-AC0D-A1FF1E7E8414}" dt="2026-01-15T23:07:02.246" v="113" actId="1076"/>
        <pc:sldMkLst>
          <pc:docMk/>
          <pc:sldMk cId="1561532402" sldId="2147472447"/>
        </pc:sldMkLst>
        <pc:spChg chg="mod">
          <ac:chgData name="Khaled Azmi Alkurd" userId="S::kalkurd@gmu.edu::d8a8490c-4d79-451d-b1ff-270e6eecfde3" providerId="AD" clId="Web-{D268AED2-300D-9D30-AC0D-A1FF1E7E8414}" dt="2026-01-15T23:06:50.073" v="111" actId="1076"/>
          <ac:spMkLst>
            <pc:docMk/>
            <pc:sldMk cId="1561532402" sldId="2147472447"/>
            <ac:spMk id="16" creationId="{9B190FFE-9C86-EC9F-51AD-4C370C1E65D7}"/>
          </ac:spMkLst>
        </pc:spChg>
        <pc:spChg chg="mod">
          <ac:chgData name="Khaled Azmi Alkurd" userId="S::kalkurd@gmu.edu::d8a8490c-4d79-451d-b1ff-270e6eecfde3" providerId="AD" clId="Web-{D268AED2-300D-9D30-AC0D-A1FF1E7E8414}" dt="2026-01-15T23:07:02.246" v="113" actId="1076"/>
          <ac:spMkLst>
            <pc:docMk/>
            <pc:sldMk cId="1561532402" sldId="2147472447"/>
            <ac:spMk id="21" creationId="{6E8ED707-1F75-C522-B9D2-2B531C27E3E9}"/>
          </ac:spMkLst>
        </pc:spChg>
        <pc:graphicFrameChg chg="mod modGraphic">
          <ac:chgData name="Khaled Azmi Alkurd" userId="S::kalkurd@gmu.edu::d8a8490c-4d79-451d-b1ff-270e6eecfde3" providerId="AD" clId="Web-{D268AED2-300D-9D30-AC0D-A1FF1E7E8414}" dt="2026-01-15T23:06:34.151" v="108"/>
          <ac:graphicFrameMkLst>
            <pc:docMk/>
            <pc:sldMk cId="1561532402" sldId="2147472447"/>
            <ac:graphicFrameMk id="10" creationId="{5863B173-8AE8-44A4-FEB6-5B47657AB6D9}"/>
          </ac:graphicFrameMkLst>
        </pc:graphicFrameChg>
      </pc:sldChg>
    </pc:docChg>
  </pc:docChgLst>
  <pc:docChgLst>
    <pc:chgData name="Khaled Azmi Alkurd" userId="S::kalkurd@gmu.edu::d8a8490c-4d79-451d-b1ff-270e6eecfde3" providerId="AD" clId="Web-{273C1340-EE0F-16F3-CE3D-B33DA8FC7A96}"/>
    <pc:docChg chg="modSld">
      <pc:chgData name="Khaled Azmi Alkurd" userId="S::kalkurd@gmu.edu::d8a8490c-4d79-451d-b1ff-270e6eecfde3" providerId="AD" clId="Web-{273C1340-EE0F-16F3-CE3D-B33DA8FC7A96}" dt="2026-01-13T10:35:12.458" v="32"/>
      <pc:docMkLst>
        <pc:docMk/>
      </pc:docMkLst>
      <pc:sldChg chg="addSp delSp modSp">
        <pc:chgData name="Khaled Azmi Alkurd" userId="S::kalkurd@gmu.edu::d8a8490c-4d79-451d-b1ff-270e6eecfde3" providerId="AD" clId="Web-{273C1340-EE0F-16F3-CE3D-B33DA8FC7A96}" dt="2026-01-13T10:35:12.458" v="32"/>
        <pc:sldMkLst>
          <pc:docMk/>
          <pc:sldMk cId="3572240398" sldId="2147470985"/>
        </pc:sldMkLst>
        <pc:spChg chg="add mod">
          <ac:chgData name="Khaled Azmi Alkurd" userId="S::kalkurd@gmu.edu::d8a8490c-4d79-451d-b1ff-270e6eecfde3" providerId="AD" clId="Web-{273C1340-EE0F-16F3-CE3D-B33DA8FC7A96}" dt="2026-01-13T10:31:41.086" v="27" actId="14100"/>
          <ac:spMkLst>
            <pc:docMk/>
            <pc:sldMk cId="3572240398" sldId="2147470985"/>
            <ac:spMk id="6" creationId="{BC7CD9CA-AC3B-836C-3F58-5EECAEB27498}"/>
          </ac:spMkLst>
        </pc:spChg>
        <pc:spChg chg="mod">
          <ac:chgData name="Khaled Azmi Alkurd" userId="S::kalkurd@gmu.edu::d8a8490c-4d79-451d-b1ff-270e6eecfde3" providerId="AD" clId="Web-{273C1340-EE0F-16F3-CE3D-B33DA8FC7A96}" dt="2026-01-13T10:29:34.866" v="0" actId="1076"/>
          <ac:spMkLst>
            <pc:docMk/>
            <pc:sldMk cId="3572240398" sldId="2147470985"/>
            <ac:spMk id="58" creationId="{584A2E81-A45D-3D69-8AE8-30D984CCF629}"/>
          </ac:spMkLst>
        </pc:spChg>
        <pc:spChg chg="mod">
          <ac:chgData name="Khaled Azmi Alkurd" userId="S::kalkurd@gmu.edu::d8a8490c-4d79-451d-b1ff-270e6eecfde3" providerId="AD" clId="Web-{273C1340-EE0F-16F3-CE3D-B33DA8FC7A96}" dt="2026-01-13T10:29:34.897" v="1" actId="1076"/>
          <ac:spMkLst>
            <pc:docMk/>
            <pc:sldMk cId="3572240398" sldId="2147470985"/>
            <ac:spMk id="320" creationId="{92174D91-76B0-EDC1-9A3F-F1700F10E936}"/>
          </ac:spMkLst>
        </pc:spChg>
        <pc:spChg chg="mod">
          <ac:chgData name="Khaled Azmi Alkurd" userId="S::kalkurd@gmu.edu::d8a8490c-4d79-451d-b1ff-270e6eecfde3" providerId="AD" clId="Web-{273C1340-EE0F-16F3-CE3D-B33DA8FC7A96}" dt="2026-01-13T10:29:34.913" v="2" actId="1076"/>
          <ac:spMkLst>
            <pc:docMk/>
            <pc:sldMk cId="3572240398" sldId="2147470985"/>
            <ac:spMk id="322" creationId="{0955C43A-9049-0B39-46A1-BBE3095A020E}"/>
          </ac:spMkLst>
        </pc:spChg>
        <pc:spChg chg="mod">
          <ac:chgData name="Khaled Azmi Alkurd" userId="S::kalkurd@gmu.edu::d8a8490c-4d79-451d-b1ff-270e6eecfde3" providerId="AD" clId="Web-{273C1340-EE0F-16F3-CE3D-B33DA8FC7A96}" dt="2026-01-13T10:29:34.928" v="3" actId="1076"/>
          <ac:spMkLst>
            <pc:docMk/>
            <pc:sldMk cId="3572240398" sldId="2147470985"/>
            <ac:spMk id="327" creationId="{C8A646DE-7ED5-7E53-A34F-CE222489DF8F}"/>
          </ac:spMkLst>
        </pc:spChg>
        <pc:spChg chg="mod">
          <ac:chgData name="Khaled Azmi Alkurd" userId="S::kalkurd@gmu.edu::d8a8490c-4d79-451d-b1ff-270e6eecfde3" providerId="AD" clId="Web-{273C1340-EE0F-16F3-CE3D-B33DA8FC7A96}" dt="2026-01-13T10:29:34.944" v="4" actId="1076"/>
          <ac:spMkLst>
            <pc:docMk/>
            <pc:sldMk cId="3572240398" sldId="2147470985"/>
            <ac:spMk id="336" creationId="{27BB8356-4377-E23A-57A9-5480FCF93D3F}"/>
          </ac:spMkLst>
        </pc:spChg>
        <pc:spChg chg="mod">
          <ac:chgData name="Khaled Azmi Alkurd" userId="S::kalkurd@gmu.edu::d8a8490c-4d79-451d-b1ff-270e6eecfde3" providerId="AD" clId="Web-{273C1340-EE0F-16F3-CE3D-B33DA8FC7A96}" dt="2026-01-13T10:29:34.960" v="5" actId="1076"/>
          <ac:spMkLst>
            <pc:docMk/>
            <pc:sldMk cId="3572240398" sldId="2147470985"/>
            <ac:spMk id="338" creationId="{62CF2DC3-4DEC-23FF-AF6B-D0BB145DFA79}"/>
          </ac:spMkLst>
        </pc:spChg>
        <pc:picChg chg="mod modCrop">
          <ac:chgData name="Khaled Azmi Alkurd" userId="S::kalkurd@gmu.edu::d8a8490c-4d79-451d-b1ff-270e6eecfde3" providerId="AD" clId="Web-{273C1340-EE0F-16F3-CE3D-B33DA8FC7A96}" dt="2026-01-13T10:35:12.458" v="32"/>
          <ac:picMkLst>
            <pc:docMk/>
            <pc:sldMk cId="3572240398" sldId="2147470985"/>
            <ac:picMk id="4" creationId="{310C9F2A-4E6E-0F6C-F5DB-7FB43B4C619A}"/>
          </ac:picMkLst>
        </pc:picChg>
      </pc:sldChg>
    </pc:docChg>
  </pc:docChgLst>
  <pc:docChgLst>
    <pc:chgData name="Yiguedan Andy Yaro" userId="S::yyaro@gmu.edu::0bc60cd9-ce11-4c17-b712-5d9396d74f80" providerId="AD" clId="Web-{A51BAB60-CD9A-F86C-B29A-E3E81350F6DB}"/>
    <pc:docChg chg="addSld modSld">
      <pc:chgData name="Yiguedan Andy Yaro" userId="S::yyaro@gmu.edu::0bc60cd9-ce11-4c17-b712-5d9396d74f80" providerId="AD" clId="Web-{A51BAB60-CD9A-F86C-B29A-E3E81350F6DB}" dt="2026-01-14T19:06:09.143" v="1696" actId="20577"/>
      <pc:docMkLst>
        <pc:docMk/>
      </pc:docMkLst>
      <pc:sldChg chg="addSp delSp modSp add replId">
        <pc:chgData name="Yiguedan Andy Yaro" userId="S::yyaro@gmu.edu::0bc60cd9-ce11-4c17-b712-5d9396d74f80" providerId="AD" clId="Web-{A51BAB60-CD9A-F86C-B29A-E3E81350F6DB}" dt="2026-01-14T19:06:09.143" v="1696" actId="20577"/>
        <pc:sldMkLst>
          <pc:docMk/>
          <pc:sldMk cId="130524519" sldId="2147472458"/>
        </pc:sldMkLst>
        <pc:spChg chg="add mod">
          <ac:chgData name="Yiguedan Andy Yaro" userId="S::yyaro@gmu.edu::0bc60cd9-ce11-4c17-b712-5d9396d74f80" providerId="AD" clId="Web-{A51BAB60-CD9A-F86C-B29A-E3E81350F6DB}" dt="2026-01-14T17:47:17.428" v="34" actId="1076"/>
          <ac:spMkLst>
            <pc:docMk/>
            <pc:sldMk cId="130524519" sldId="2147472458"/>
            <ac:spMk id="4" creationId="{F542C149-52F2-4BFD-F75A-A341DAFEE7AD}"/>
          </ac:spMkLst>
        </pc:spChg>
        <pc:spChg chg="add mod">
          <ac:chgData name="Yiguedan Andy Yaro" userId="S::yyaro@gmu.edu::0bc60cd9-ce11-4c17-b712-5d9396d74f80" providerId="AD" clId="Web-{A51BAB60-CD9A-F86C-B29A-E3E81350F6DB}" dt="2026-01-14T17:59:37.396" v="151" actId="1076"/>
          <ac:spMkLst>
            <pc:docMk/>
            <pc:sldMk cId="130524519" sldId="2147472458"/>
            <ac:spMk id="5" creationId="{E733388A-93D8-A57E-6F8F-CC681F66078B}"/>
          </ac:spMkLst>
        </pc:spChg>
        <pc:spChg chg="add mod">
          <ac:chgData name="Yiguedan Andy Yaro" userId="S::yyaro@gmu.edu::0bc60cd9-ce11-4c17-b712-5d9396d74f80" providerId="AD" clId="Web-{A51BAB60-CD9A-F86C-B29A-E3E81350F6DB}" dt="2026-01-14T17:57:01.318" v="73" actId="20577"/>
          <ac:spMkLst>
            <pc:docMk/>
            <pc:sldMk cId="130524519" sldId="2147472458"/>
            <ac:spMk id="8" creationId="{F04D08A6-211E-A7D2-AA77-B15CE05F91D0}"/>
          </ac:spMkLst>
        </pc:spChg>
        <pc:spChg chg="add mod">
          <ac:chgData name="Yiguedan Andy Yaro" userId="S::yyaro@gmu.edu::0bc60cd9-ce11-4c17-b712-5d9396d74f80" providerId="AD" clId="Web-{A51BAB60-CD9A-F86C-B29A-E3E81350F6DB}" dt="2026-01-14T17:58:25.443" v="131" actId="1076"/>
          <ac:spMkLst>
            <pc:docMk/>
            <pc:sldMk cId="130524519" sldId="2147472458"/>
            <ac:spMk id="11" creationId="{2433E9E8-696D-3B1B-6000-63ACB20E8BD3}"/>
          </ac:spMkLst>
        </pc:spChg>
        <pc:spChg chg="add mod">
          <ac:chgData name="Yiguedan Andy Yaro" userId="S::yyaro@gmu.edu::0bc60cd9-ce11-4c17-b712-5d9396d74f80" providerId="AD" clId="Web-{A51BAB60-CD9A-F86C-B29A-E3E81350F6DB}" dt="2026-01-14T18:37:23.972" v="772" actId="1076"/>
          <ac:spMkLst>
            <pc:docMk/>
            <pc:sldMk cId="130524519" sldId="2147472458"/>
            <ac:spMk id="12" creationId="{83953811-00E0-943B-6623-C5814FF22068}"/>
          </ac:spMkLst>
        </pc:spChg>
        <pc:spChg chg="add mod">
          <ac:chgData name="Yiguedan Andy Yaro" userId="S::yyaro@gmu.edu::0bc60cd9-ce11-4c17-b712-5d9396d74f80" providerId="AD" clId="Web-{A51BAB60-CD9A-F86C-B29A-E3E81350F6DB}" dt="2026-01-14T17:59:40.505" v="152" actId="1076"/>
          <ac:spMkLst>
            <pc:docMk/>
            <pc:sldMk cId="130524519" sldId="2147472458"/>
            <ac:spMk id="13" creationId="{F3014760-BBD7-4616-63D4-D6DF43C2CF6C}"/>
          </ac:spMkLst>
        </pc:spChg>
        <pc:spChg chg="add mod">
          <ac:chgData name="Yiguedan Andy Yaro" userId="S::yyaro@gmu.edu::0bc60cd9-ce11-4c17-b712-5d9396d74f80" providerId="AD" clId="Web-{A51BAB60-CD9A-F86C-B29A-E3E81350F6DB}" dt="2026-01-14T18:20:23.551" v="200" actId="1076"/>
          <ac:spMkLst>
            <pc:docMk/>
            <pc:sldMk cId="130524519" sldId="2147472458"/>
            <ac:spMk id="14" creationId="{485E4E46-63FB-95FB-2E71-4B2CBC23F82E}"/>
          </ac:spMkLst>
        </pc:spChg>
        <pc:spChg chg="add mod">
          <ac:chgData name="Yiguedan Andy Yaro" userId="S::yyaro@gmu.edu::0bc60cd9-ce11-4c17-b712-5d9396d74f80" providerId="AD" clId="Web-{A51BAB60-CD9A-F86C-B29A-E3E81350F6DB}" dt="2026-01-14T18:34:00.910" v="558" actId="20577"/>
          <ac:spMkLst>
            <pc:docMk/>
            <pc:sldMk cId="130524519" sldId="2147472458"/>
            <ac:spMk id="22" creationId="{611F2C84-CD97-FC10-DDAC-2D98405871BB}"/>
          </ac:spMkLst>
        </pc:spChg>
        <pc:spChg chg="add mod">
          <ac:chgData name="Yiguedan Andy Yaro" userId="S::yyaro@gmu.edu::0bc60cd9-ce11-4c17-b712-5d9396d74f80" providerId="AD" clId="Web-{A51BAB60-CD9A-F86C-B29A-E3E81350F6DB}" dt="2026-01-14T19:05:48.299" v="1694" actId="14100"/>
          <ac:spMkLst>
            <pc:docMk/>
            <pc:sldMk cId="130524519" sldId="2147472458"/>
            <ac:spMk id="24" creationId="{3BD1E311-C89D-46DE-9F14-6B48620073B7}"/>
          </ac:spMkLst>
        </pc:spChg>
        <pc:spChg chg="add mod">
          <ac:chgData name="Yiguedan Andy Yaro" userId="S::yyaro@gmu.edu::0bc60cd9-ce11-4c17-b712-5d9396d74f80" providerId="AD" clId="Web-{A51BAB60-CD9A-F86C-B29A-E3E81350F6DB}" dt="2026-01-14T18:48:23.737" v="1066" actId="20577"/>
          <ac:spMkLst>
            <pc:docMk/>
            <pc:sldMk cId="130524519" sldId="2147472458"/>
            <ac:spMk id="29" creationId="{9DFA7E82-F678-5E92-3415-CE2CBAE9F44A}"/>
          </ac:spMkLst>
        </pc:spChg>
        <pc:spChg chg="add mod">
          <ac:chgData name="Yiguedan Andy Yaro" userId="S::yyaro@gmu.edu::0bc60cd9-ce11-4c17-b712-5d9396d74f80" providerId="AD" clId="Web-{A51BAB60-CD9A-F86C-B29A-E3E81350F6DB}" dt="2026-01-14T18:58:14.893" v="1352" actId="14100"/>
          <ac:spMkLst>
            <pc:docMk/>
            <pc:sldMk cId="130524519" sldId="2147472458"/>
            <ac:spMk id="35" creationId="{213553EC-39F1-1AFF-127D-04651BE38B5A}"/>
          </ac:spMkLst>
        </pc:spChg>
        <pc:spChg chg="add mod">
          <ac:chgData name="Yiguedan Andy Yaro" userId="S::yyaro@gmu.edu::0bc60cd9-ce11-4c17-b712-5d9396d74f80" providerId="AD" clId="Web-{A51BAB60-CD9A-F86C-B29A-E3E81350F6DB}" dt="2026-01-14T19:05:20.455" v="1689" actId="14100"/>
          <ac:spMkLst>
            <pc:docMk/>
            <pc:sldMk cId="130524519" sldId="2147472458"/>
            <ac:spMk id="39" creationId="{CDFDB912-4ABC-E083-8072-74548A7F6C32}"/>
          </ac:spMkLst>
        </pc:spChg>
      </pc:sldChg>
    </pc:docChg>
  </pc:docChgLst>
  <pc:docChgLst>
    <pc:chgData name="Lakshmi Pranavi Doodala" userId="S::ldoodala@gmu.edu::e83b3efd-028e-479f-903f-2182a0b2285c" providerId="AD" clId="Web-{3BFD3535-475F-4200-6E10-A40C71B4DC08}"/>
    <pc:docChg chg="modSld sldOrd">
      <pc:chgData name="Lakshmi Pranavi Doodala" userId="S::ldoodala@gmu.edu::e83b3efd-028e-479f-903f-2182a0b2285c" providerId="AD" clId="Web-{3BFD3535-475F-4200-6E10-A40C71B4DC08}" dt="2026-01-15T19:59:27.547" v="505"/>
      <pc:docMkLst>
        <pc:docMk/>
      </pc:docMkLst>
      <pc:sldChg chg="modNotes">
        <pc:chgData name="Lakshmi Pranavi Doodala" userId="S::ldoodala@gmu.edu::e83b3efd-028e-479f-903f-2182a0b2285c" providerId="AD" clId="Web-{3BFD3535-475F-4200-6E10-A40C71B4DC08}" dt="2026-01-15T19:30:38.342" v="401"/>
        <pc:sldMkLst>
          <pc:docMk/>
          <pc:sldMk cId="2579588639" sldId="293"/>
        </pc:sldMkLst>
      </pc:sldChg>
      <pc:sldChg chg="modNotes">
        <pc:chgData name="Lakshmi Pranavi Doodala" userId="S::ldoodala@gmu.edu::e83b3efd-028e-479f-903f-2182a0b2285c" providerId="AD" clId="Web-{3BFD3535-475F-4200-6E10-A40C71B4DC08}" dt="2026-01-15T19:39:28.784" v="433"/>
        <pc:sldMkLst>
          <pc:docMk/>
          <pc:sldMk cId="3572240398" sldId="2147470985"/>
        </pc:sldMkLst>
      </pc:sldChg>
      <pc:sldChg chg="ord">
        <pc:chgData name="Lakshmi Pranavi Doodala" userId="S::ldoodala@gmu.edu::e83b3efd-028e-479f-903f-2182a0b2285c" providerId="AD" clId="Web-{3BFD3535-475F-4200-6E10-A40C71B4DC08}" dt="2026-01-15T19:59:27.547" v="505"/>
        <pc:sldMkLst>
          <pc:docMk/>
          <pc:sldMk cId="2143509530" sldId="2147472455"/>
        </pc:sldMkLst>
      </pc:sldChg>
      <pc:sldChg chg="delSp modSp modNotes">
        <pc:chgData name="Lakshmi Pranavi Doodala" userId="S::ldoodala@gmu.edu::e83b3efd-028e-479f-903f-2182a0b2285c" providerId="AD" clId="Web-{3BFD3535-475F-4200-6E10-A40C71B4DC08}" dt="2026-01-15T19:49:46.825" v="504"/>
        <pc:sldMkLst>
          <pc:docMk/>
          <pc:sldMk cId="3444418906" sldId="2147472463"/>
        </pc:sldMkLst>
      </pc:sldChg>
    </pc:docChg>
  </pc:docChgLst>
  <pc:docChgLst>
    <pc:chgData name="Khaled Azmi Alkurd" userId="S::kalkurd@gmu.edu::d8a8490c-4d79-451d-b1ff-270e6eecfde3" providerId="AD" clId="Web-{C3442C03-14AC-C411-C28B-3184258CFFE1}"/>
    <pc:docChg chg="addSld delSld modSld sldOrd">
      <pc:chgData name="Khaled Azmi Alkurd" userId="S::kalkurd@gmu.edu::d8a8490c-4d79-451d-b1ff-270e6eecfde3" providerId="AD" clId="Web-{C3442C03-14AC-C411-C28B-3184258CFFE1}" dt="2026-01-14T09:33:40.937" v="762" actId="20577"/>
      <pc:docMkLst>
        <pc:docMk/>
      </pc:docMkLst>
      <pc:sldChg chg="modSp">
        <pc:chgData name="Khaled Azmi Alkurd" userId="S::kalkurd@gmu.edu::d8a8490c-4d79-451d-b1ff-270e6eecfde3" providerId="AD" clId="Web-{C3442C03-14AC-C411-C28B-3184258CFFE1}" dt="2026-01-14T09:33:40.937" v="762" actId="20577"/>
        <pc:sldMkLst>
          <pc:docMk/>
          <pc:sldMk cId="158379550" sldId="2305"/>
        </pc:sldMkLst>
        <pc:spChg chg="mod">
          <ac:chgData name="Khaled Azmi Alkurd" userId="S::kalkurd@gmu.edu::d8a8490c-4d79-451d-b1ff-270e6eecfde3" providerId="AD" clId="Web-{C3442C03-14AC-C411-C28B-3184258CFFE1}" dt="2026-01-14T06:30:22.282" v="13" actId="20577"/>
          <ac:spMkLst>
            <pc:docMk/>
            <pc:sldMk cId="158379550" sldId="2305"/>
            <ac:spMk id="8" creationId="{3620BA7F-8E4E-F6D8-D9C9-9D2EB635FC96}"/>
          </ac:spMkLst>
        </pc:spChg>
        <pc:spChg chg="mod">
          <ac:chgData name="Khaled Azmi Alkurd" userId="S::kalkurd@gmu.edu::d8a8490c-4d79-451d-b1ff-270e6eecfde3" providerId="AD" clId="Web-{C3442C03-14AC-C411-C28B-3184258CFFE1}" dt="2026-01-14T06:35:35.638" v="72" actId="1076"/>
          <ac:spMkLst>
            <pc:docMk/>
            <pc:sldMk cId="158379550" sldId="2305"/>
            <ac:spMk id="11" creationId="{32186C7D-75CD-BBC1-C204-DBE4F03D95CA}"/>
          </ac:spMkLst>
        </pc:spChg>
        <pc:spChg chg="mod">
          <ac:chgData name="Khaled Azmi Alkurd" userId="S::kalkurd@gmu.edu::d8a8490c-4d79-451d-b1ff-270e6eecfde3" providerId="AD" clId="Web-{C3442C03-14AC-C411-C28B-3184258CFFE1}" dt="2026-01-14T09:33:40.937" v="762" actId="20577"/>
          <ac:spMkLst>
            <pc:docMk/>
            <pc:sldMk cId="158379550" sldId="2305"/>
            <ac:spMk id="23" creationId="{2CD1DBE9-D19F-5D07-D807-8FBD2CD4A94B}"/>
          </ac:spMkLst>
        </pc:spChg>
        <pc:graphicFrameChg chg="mod modGraphic">
          <ac:chgData name="Khaled Azmi Alkurd" userId="S::kalkurd@gmu.edu::d8a8490c-4d79-451d-b1ff-270e6eecfde3" providerId="AD" clId="Web-{C3442C03-14AC-C411-C28B-3184258CFFE1}" dt="2026-01-14T06:30:58.456" v="15"/>
          <ac:graphicFrameMkLst>
            <pc:docMk/>
            <pc:sldMk cId="158379550" sldId="2305"/>
            <ac:graphicFrameMk id="17" creationId="{E5968284-9449-950F-F3F2-03B05079F257}"/>
          </ac:graphicFrameMkLst>
        </pc:graphicFrameChg>
      </pc:sldChg>
      <pc:sldChg chg="modSp">
        <pc:chgData name="Khaled Azmi Alkurd" userId="S::kalkurd@gmu.edu::d8a8490c-4d79-451d-b1ff-270e6eecfde3" providerId="AD" clId="Web-{C3442C03-14AC-C411-C28B-3184258CFFE1}" dt="2026-01-14T09:09:59.765" v="642"/>
        <pc:sldMkLst>
          <pc:docMk/>
          <pc:sldMk cId="1069076631" sldId="2147471176"/>
        </pc:sldMkLst>
        <pc:spChg chg="mod">
          <ac:chgData name="Khaled Azmi Alkurd" userId="S::kalkurd@gmu.edu::d8a8490c-4d79-451d-b1ff-270e6eecfde3" providerId="AD" clId="Web-{C3442C03-14AC-C411-C28B-3184258CFFE1}" dt="2026-01-14T06:30:08.657" v="12" actId="20577"/>
          <ac:spMkLst>
            <pc:docMk/>
            <pc:sldMk cId="1069076631" sldId="2147471176"/>
            <ac:spMk id="2" creationId="{31967DD4-5A6B-B1E0-CA40-A08F44BB373F}"/>
          </ac:spMkLst>
        </pc:spChg>
      </pc:sldChg>
      <pc:sldChg chg="modSp">
        <pc:chgData name="Khaled Azmi Alkurd" userId="S::kalkurd@gmu.edu::d8a8490c-4d79-451d-b1ff-270e6eecfde3" providerId="AD" clId="Web-{C3442C03-14AC-C411-C28B-3184258CFFE1}" dt="2026-01-14T06:32:15.506" v="25" actId="20577"/>
        <pc:sldMkLst>
          <pc:docMk/>
          <pc:sldMk cId="3246686144" sldId="2147471452"/>
        </pc:sldMkLst>
        <pc:spChg chg="mod">
          <ac:chgData name="Khaled Azmi Alkurd" userId="S::kalkurd@gmu.edu::d8a8490c-4d79-451d-b1ff-270e6eecfde3" providerId="AD" clId="Web-{C3442C03-14AC-C411-C28B-3184258CFFE1}" dt="2026-01-14T06:32:15.506" v="25" actId="20577"/>
          <ac:spMkLst>
            <pc:docMk/>
            <pc:sldMk cId="3246686144" sldId="2147471452"/>
            <ac:spMk id="8" creationId="{EF764310-F6C8-4D58-667B-502055AF4EB8}"/>
          </ac:spMkLst>
        </pc:spChg>
      </pc:sldChg>
      <pc:sldChg chg="modSp">
        <pc:chgData name="Khaled Azmi Alkurd" userId="S::kalkurd@gmu.edu::d8a8490c-4d79-451d-b1ff-270e6eecfde3" providerId="AD" clId="Web-{C3442C03-14AC-C411-C28B-3184258CFFE1}" dt="2026-01-14T08:24:45.254" v="508" actId="20577"/>
        <pc:sldMkLst>
          <pc:docMk/>
          <pc:sldMk cId="3720278267" sldId="2147471455"/>
        </pc:sldMkLst>
        <pc:spChg chg="mod">
          <ac:chgData name="Khaled Azmi Alkurd" userId="S::kalkurd@gmu.edu::d8a8490c-4d79-451d-b1ff-270e6eecfde3" providerId="AD" clId="Web-{C3442C03-14AC-C411-C28B-3184258CFFE1}" dt="2026-01-14T08:24:45.254" v="508" actId="20577"/>
          <ac:spMkLst>
            <pc:docMk/>
            <pc:sldMk cId="3720278267" sldId="2147471455"/>
            <ac:spMk id="7" creationId="{0F244115-B961-2B2E-3DC5-85CBA79A3816}"/>
          </ac:spMkLst>
        </pc:spChg>
        <pc:spChg chg="mod">
          <ac:chgData name="Khaled Azmi Alkurd" userId="S::kalkurd@gmu.edu::d8a8490c-4d79-451d-b1ff-270e6eecfde3" providerId="AD" clId="Web-{C3442C03-14AC-C411-C28B-3184258CFFE1}" dt="2026-01-14T06:32:24.694" v="48" actId="20577"/>
          <ac:spMkLst>
            <pc:docMk/>
            <pc:sldMk cId="3720278267" sldId="2147471455"/>
            <ac:spMk id="23" creationId="{D76B7A1C-1332-11FA-FE76-AC3C8AE1EBA6}"/>
          </ac:spMkLst>
        </pc:spChg>
      </pc:sldChg>
      <pc:sldChg chg="addSp delSp">
        <pc:chgData name="Khaled Azmi Alkurd" userId="S::kalkurd@gmu.edu::d8a8490c-4d79-451d-b1ff-270e6eecfde3" providerId="AD" clId="Web-{C3442C03-14AC-C411-C28B-3184258CFFE1}" dt="2026-01-14T08:00:02.204" v="435"/>
        <pc:sldMkLst>
          <pc:docMk/>
          <pc:sldMk cId="1855807379" sldId="2147472437"/>
        </pc:sldMkLst>
        <pc:spChg chg="add">
          <ac:chgData name="Khaled Azmi Alkurd" userId="S::kalkurd@gmu.edu::d8a8490c-4d79-451d-b1ff-270e6eecfde3" providerId="AD" clId="Web-{C3442C03-14AC-C411-C28B-3184258CFFE1}" dt="2026-01-14T08:00:00.329" v="434"/>
          <ac:spMkLst>
            <pc:docMk/>
            <pc:sldMk cId="1855807379" sldId="2147472437"/>
            <ac:spMk id="7" creationId="{B69C2406-7208-F446-5D25-C28BABF21111}"/>
          </ac:spMkLst>
        </pc:spChg>
      </pc:sldChg>
      <pc:sldChg chg="modSp">
        <pc:chgData name="Khaled Azmi Alkurd" userId="S::kalkurd@gmu.edu::d8a8490c-4d79-451d-b1ff-270e6eecfde3" providerId="AD" clId="Web-{C3442C03-14AC-C411-C28B-3184258CFFE1}" dt="2026-01-14T06:34:50.137" v="71" actId="20577"/>
        <pc:sldMkLst>
          <pc:docMk/>
          <pc:sldMk cId="735017481" sldId="2147472448"/>
        </pc:sldMkLst>
        <pc:spChg chg="mod">
          <ac:chgData name="Khaled Azmi Alkurd" userId="S::kalkurd@gmu.edu::d8a8490c-4d79-451d-b1ff-270e6eecfde3" providerId="AD" clId="Web-{C3442C03-14AC-C411-C28B-3184258CFFE1}" dt="2026-01-14T06:34:50.137" v="71" actId="20577"/>
          <ac:spMkLst>
            <pc:docMk/>
            <pc:sldMk cId="735017481" sldId="2147472448"/>
            <ac:spMk id="12" creationId="{9265D1A0-45B5-E34A-D381-94FEA6590F3C}"/>
          </ac:spMkLst>
        </pc:spChg>
        <pc:spChg chg="mod">
          <ac:chgData name="Khaled Azmi Alkurd" userId="S::kalkurd@gmu.edu::d8a8490c-4d79-451d-b1ff-270e6eecfde3" providerId="AD" clId="Web-{C3442C03-14AC-C411-C28B-3184258CFFE1}" dt="2026-01-14T06:29:40.452" v="11" actId="20577"/>
          <ac:spMkLst>
            <pc:docMk/>
            <pc:sldMk cId="735017481" sldId="2147472448"/>
            <ac:spMk id="14" creationId="{50F08C9F-9FB4-4BB2-9A51-D89320312618}"/>
          </ac:spMkLst>
        </pc:spChg>
      </pc:sldChg>
      <pc:sldChg chg="modSp">
        <pc:chgData name="Khaled Azmi Alkurd" userId="S::kalkurd@gmu.edu::d8a8490c-4d79-451d-b1ff-270e6eecfde3" providerId="AD" clId="Web-{C3442C03-14AC-C411-C28B-3184258CFFE1}" dt="2026-01-14T08:58:47.703" v="633" actId="20577"/>
        <pc:sldMkLst>
          <pc:docMk/>
          <pc:sldMk cId="3176373537" sldId="2147472453"/>
        </pc:sldMkLst>
      </pc:sldChg>
      <pc:sldMasterChg chg="addSldLayout">
        <pc:chgData name="Khaled Azmi Alkurd" userId="S::kalkurd@gmu.edu::d8a8490c-4d79-451d-b1ff-270e6eecfde3" providerId="AD" clId="Web-{C3442C03-14AC-C411-C28B-3184258CFFE1}" dt="2026-01-14T07:59:52.329" v="432"/>
        <pc:sldMasterMkLst>
          <pc:docMk/>
          <pc:sldMasterMk cId="2460954070" sldId="2147483660"/>
        </pc:sldMasterMkLst>
        <pc:sldLayoutChg chg="add">
          <pc:chgData name="Khaled Azmi Alkurd" userId="S::kalkurd@gmu.edu::d8a8490c-4d79-451d-b1ff-270e6eecfde3" providerId="AD" clId="Web-{C3442C03-14AC-C411-C28B-3184258CFFE1}" dt="2026-01-14T07:59:52.329" v="432"/>
          <pc:sldLayoutMkLst>
            <pc:docMk/>
            <pc:sldMasterMk cId="2460954070" sldId="2147483660"/>
            <pc:sldLayoutMk cId="2563560825" sldId="2147483676"/>
          </pc:sldLayoutMkLst>
        </pc:sldLayoutChg>
      </pc:sldMasterChg>
    </pc:docChg>
  </pc:docChgLst>
  <pc:docChgLst>
    <pc:chgData name="Lakshmi Pranavi Doodala" userId="S::ldoodala@gmu.edu::e83b3efd-028e-479f-903f-2182a0b2285c" providerId="AD" clId="Web-{E9D72A30-1683-3DEE-4463-CB096720BB23}"/>
    <pc:docChg chg="modSld">
      <pc:chgData name="Lakshmi Pranavi Doodala" userId="S::ldoodala@gmu.edu::e83b3efd-028e-479f-903f-2182a0b2285c" providerId="AD" clId="Web-{E9D72A30-1683-3DEE-4463-CB096720BB23}" dt="2026-01-12T19:37:05.947" v="11" actId="20577"/>
      <pc:docMkLst>
        <pc:docMk/>
      </pc:docMkLst>
      <pc:sldChg chg="modSp">
        <pc:chgData name="Lakshmi Pranavi Doodala" userId="S::ldoodala@gmu.edu::e83b3efd-028e-479f-903f-2182a0b2285c" providerId="AD" clId="Web-{E9D72A30-1683-3DEE-4463-CB096720BB23}" dt="2026-01-12T19:37:05.947" v="11" actId="20577"/>
        <pc:sldMkLst>
          <pc:docMk/>
          <pc:sldMk cId="2579588639" sldId="293"/>
        </pc:sldMkLst>
        <pc:spChg chg="mod">
          <ac:chgData name="Lakshmi Pranavi Doodala" userId="S::ldoodala@gmu.edu::e83b3efd-028e-479f-903f-2182a0b2285c" providerId="AD" clId="Web-{E9D72A30-1683-3DEE-4463-CB096720BB23}" dt="2026-01-12T19:37:05.947" v="11" actId="20577"/>
          <ac:spMkLst>
            <pc:docMk/>
            <pc:sldMk cId="2579588639" sldId="293"/>
            <ac:spMk id="187" creationId="{00000000-0000-0000-0000-000000000000}"/>
          </ac:spMkLst>
        </pc:spChg>
      </pc:sldChg>
    </pc:docChg>
  </pc:docChgLst>
  <pc:docChgLst>
    <pc:chgData name="Nikita Chandrasing" userId="S::nchandr3@gmu.edu::a6614213-6536-4d81-9686-55df5591b5b2" providerId="AD" clId="Web-{13725004-B478-C281-42B6-F495256490D9}"/>
    <pc:docChg chg="modSld">
      <pc:chgData name="Nikita Chandrasing" userId="S::nchandr3@gmu.edu::a6614213-6536-4d81-9686-55df5591b5b2" providerId="AD" clId="Web-{13725004-B478-C281-42B6-F495256490D9}" dt="2026-01-17T19:37:49.899" v="11" actId="1076"/>
      <pc:docMkLst>
        <pc:docMk/>
      </pc:docMkLst>
      <pc:sldChg chg="modSp">
        <pc:chgData name="Nikita Chandrasing" userId="S::nchandr3@gmu.edu::a6614213-6536-4d81-9686-55df5591b5b2" providerId="AD" clId="Web-{13725004-B478-C281-42B6-F495256490D9}" dt="2026-01-17T19:37:49.899" v="11" actId="1076"/>
        <pc:sldMkLst>
          <pc:docMk/>
          <pc:sldMk cId="3572240398" sldId="2147470985"/>
        </pc:sldMkLst>
        <pc:spChg chg="mod">
          <ac:chgData name="Nikita Chandrasing" userId="S::nchandr3@gmu.edu::a6614213-6536-4d81-9686-55df5591b5b2" providerId="AD" clId="Web-{13725004-B478-C281-42B6-F495256490D9}" dt="2026-01-17T19:37:49.899" v="11" actId="1076"/>
          <ac:spMkLst>
            <pc:docMk/>
            <pc:sldMk cId="3572240398" sldId="2147470985"/>
            <ac:spMk id="55" creationId="{DE4F4F7A-D2BF-01DE-C10F-6DAB3AAE9F5F}"/>
          </ac:spMkLst>
        </pc:spChg>
        <pc:spChg chg="mod">
          <ac:chgData name="Nikita Chandrasing" userId="S::nchandr3@gmu.edu::a6614213-6536-4d81-9686-55df5591b5b2" providerId="AD" clId="Web-{13725004-B478-C281-42B6-F495256490D9}" dt="2026-01-17T19:37:49.899" v="10" actId="1076"/>
          <ac:spMkLst>
            <pc:docMk/>
            <pc:sldMk cId="3572240398" sldId="2147470985"/>
            <ac:spMk id="63" creationId="{11BF6244-FC85-97F4-F4EC-0D87D6FC36A2}"/>
          </ac:spMkLst>
        </pc:spChg>
        <pc:spChg chg="mod">
          <ac:chgData name="Nikita Chandrasing" userId="S::nchandr3@gmu.edu::a6614213-6536-4d81-9686-55df5591b5b2" providerId="AD" clId="Web-{13725004-B478-C281-42B6-F495256490D9}" dt="2026-01-17T19:37:49.899" v="9" actId="1076"/>
          <ac:spMkLst>
            <pc:docMk/>
            <pc:sldMk cId="3572240398" sldId="2147470985"/>
            <ac:spMk id="321" creationId="{E45946AE-FC93-C742-E87C-6720DFA6D703}"/>
          </ac:spMkLst>
        </pc:spChg>
        <pc:picChg chg="mod">
          <ac:chgData name="Nikita Chandrasing" userId="S::nchandr3@gmu.edu::a6614213-6536-4d81-9686-55df5591b5b2" providerId="AD" clId="Web-{13725004-B478-C281-42B6-F495256490D9}" dt="2026-01-17T19:37:49.899" v="7" actId="1076"/>
          <ac:picMkLst>
            <pc:docMk/>
            <pc:sldMk cId="3572240398" sldId="2147470985"/>
            <ac:picMk id="2" creationId="{99C0BDEF-BDF9-1F02-BDFE-7486165D8E64}"/>
          </ac:picMkLst>
        </pc:picChg>
        <pc:picChg chg="mod">
          <ac:chgData name="Nikita Chandrasing" userId="S::nchandr3@gmu.edu::a6614213-6536-4d81-9686-55df5591b5b2" providerId="AD" clId="Web-{13725004-B478-C281-42B6-F495256490D9}" dt="2026-01-17T19:37:49.899" v="8" actId="1076"/>
          <ac:picMkLst>
            <pc:docMk/>
            <pc:sldMk cId="3572240398" sldId="2147470985"/>
            <ac:picMk id="4" creationId="{310C9F2A-4E6E-0F6C-F5DB-7FB43B4C619A}"/>
          </ac:picMkLst>
        </pc:picChg>
      </pc:sldChg>
    </pc:docChg>
  </pc:docChgLst>
  <pc:docChgLst>
    <pc:chgData name="Khaled Azmi Alkurd" userId="S::kalkurd@gmu.edu::d8a8490c-4d79-451d-b1ff-270e6eecfde3" providerId="AD" clId="Web-{813E29B8-3CAD-C694-9BA8-C0DA236A76EF}"/>
    <pc:docChg chg="addSld delSld modSld">
      <pc:chgData name="Khaled Azmi Alkurd" userId="S::kalkurd@gmu.edu::d8a8490c-4d79-451d-b1ff-270e6eecfde3" providerId="AD" clId="Web-{813E29B8-3CAD-C694-9BA8-C0DA236A76EF}" dt="2026-01-15T06:05:42.718" v="249"/>
      <pc:docMkLst>
        <pc:docMk/>
      </pc:docMkLst>
      <pc:sldChg chg="addSp modSp">
        <pc:chgData name="Khaled Azmi Alkurd" userId="S::kalkurd@gmu.edu::d8a8490c-4d79-451d-b1ff-270e6eecfde3" providerId="AD" clId="Web-{813E29B8-3CAD-C694-9BA8-C0DA236A76EF}" dt="2026-01-15T05:16:55.363" v="50" actId="1076"/>
        <pc:sldMkLst>
          <pc:docMk/>
          <pc:sldMk cId="3572240398" sldId="2147470985"/>
        </pc:sldMkLst>
      </pc:sldChg>
      <pc:sldChg chg="addSp modSp del">
        <pc:chgData name="Khaled Azmi Alkurd" userId="S::kalkurd@gmu.edu::d8a8490c-4d79-451d-b1ff-270e6eecfde3" providerId="AD" clId="Web-{813E29B8-3CAD-C694-9BA8-C0DA236A76EF}" dt="2026-01-15T06:05:42.718" v="249"/>
        <pc:sldMkLst>
          <pc:docMk/>
          <pc:sldMk cId="2143509530" sldId="2147472455"/>
        </pc:sldMkLst>
        <pc:spChg chg="mod">
          <ac:chgData name="Khaled Azmi Alkurd" userId="S::kalkurd@gmu.edu::d8a8490c-4d79-451d-b1ff-270e6eecfde3" providerId="AD" clId="Web-{813E29B8-3CAD-C694-9BA8-C0DA236A76EF}" dt="2026-01-15T05:21:52.348" v="68" actId="20577"/>
          <ac:spMkLst>
            <pc:docMk/>
            <pc:sldMk cId="2143509530" sldId="2147472455"/>
            <ac:spMk id="2" creationId="{2307DBDE-42B6-1AC3-BD25-C992D0A8FA7F}"/>
          </ac:spMkLst>
        </pc:spChg>
        <pc:spChg chg="mod">
          <ac:chgData name="Khaled Azmi Alkurd" userId="S::kalkurd@gmu.edu::d8a8490c-4d79-451d-b1ff-270e6eecfde3" providerId="AD" clId="Web-{813E29B8-3CAD-C694-9BA8-C0DA236A76EF}" dt="2026-01-15T05:27:38.481" v="110" actId="20577"/>
          <ac:spMkLst>
            <pc:docMk/>
            <pc:sldMk cId="2143509530" sldId="2147472455"/>
            <ac:spMk id="3" creationId="{9A2813D2-DB41-398B-C230-CAF012D68CBA}"/>
          </ac:spMkLst>
        </pc:spChg>
        <pc:spChg chg="mod">
          <ac:chgData name="Khaled Azmi Alkurd" userId="S::kalkurd@gmu.edu::d8a8490c-4d79-451d-b1ff-270e6eecfde3" providerId="AD" clId="Web-{813E29B8-3CAD-C694-9BA8-C0DA236A76EF}" dt="2026-01-15T05:28:17.015" v="147" actId="20577"/>
          <ac:spMkLst>
            <pc:docMk/>
            <pc:sldMk cId="2143509530" sldId="2147472455"/>
            <ac:spMk id="7" creationId="{3817EC1C-4B4F-5789-634E-8E4DF5EC8819}"/>
          </ac:spMkLst>
        </pc:spChg>
        <pc:spChg chg="mod">
          <ac:chgData name="Khaled Azmi Alkurd" userId="S::kalkurd@gmu.edu::d8a8490c-4d79-451d-b1ff-270e6eecfde3" providerId="AD" clId="Web-{813E29B8-3CAD-C694-9BA8-C0DA236A76EF}" dt="2026-01-15T05:26:02.030" v="104"/>
          <ac:spMkLst>
            <pc:docMk/>
            <pc:sldMk cId="2143509530" sldId="2147472455"/>
            <ac:spMk id="17" creationId="{699D3786-4EF6-3CD4-6FFE-B5A77D00BA78}"/>
          </ac:spMkLst>
        </pc:spChg>
        <pc:spChg chg="mod">
          <ac:chgData name="Khaled Azmi Alkurd" userId="S::kalkurd@gmu.edu::d8a8490c-4d79-451d-b1ff-270e6eecfde3" providerId="AD" clId="Web-{813E29B8-3CAD-C694-9BA8-C0DA236A76EF}" dt="2026-01-15T05:26:36.176" v="108"/>
          <ac:spMkLst>
            <pc:docMk/>
            <pc:sldMk cId="2143509530" sldId="2147472455"/>
            <ac:spMk id="21" creationId="{FB8DE4AD-BB5A-AA3E-4E8B-4DFE4E9F9BBB}"/>
          </ac:spMkLst>
        </pc:spChg>
      </pc:sldChg>
      <pc:sldChg chg="addSp modSp">
        <pc:chgData name="Khaled Azmi Alkurd" userId="S::kalkurd@gmu.edu::d8a8490c-4d79-451d-b1ff-270e6eecfde3" providerId="AD" clId="Web-{813E29B8-3CAD-C694-9BA8-C0DA236A76EF}" dt="2026-01-15T05:16:21.691" v="39" actId="20577"/>
        <pc:sldMkLst>
          <pc:docMk/>
          <pc:sldMk cId="130524519" sldId="2147472458"/>
        </pc:sldMkLst>
      </pc:sldChg>
    </pc:docChg>
  </pc:docChgLst>
  <pc:docChgLst>
    <pc:chgData name="Khaled Azmi Alkurd" userId="S::kalkurd@gmu.edu::d8a8490c-4d79-451d-b1ff-270e6eecfde3" providerId="AD" clId="Web-{D2008250-D6ED-3B45-A1E3-6A39BC966AF3}"/>
    <pc:docChg chg="modSld">
      <pc:chgData name="Khaled Azmi Alkurd" userId="S::kalkurd@gmu.edu::d8a8490c-4d79-451d-b1ff-270e6eecfde3" providerId="AD" clId="Web-{D2008250-D6ED-3B45-A1E3-6A39BC966AF3}" dt="2026-01-14T04:39:18.579" v="227" actId="20577"/>
      <pc:docMkLst>
        <pc:docMk/>
      </pc:docMkLst>
      <pc:sldChg chg="modSp">
        <pc:chgData name="Khaled Azmi Alkurd" userId="S::kalkurd@gmu.edu::d8a8490c-4d79-451d-b1ff-270e6eecfde3" providerId="AD" clId="Web-{D2008250-D6ED-3B45-A1E3-6A39BC966AF3}" dt="2026-01-14T04:16:27.872" v="41" actId="20577"/>
        <pc:sldMkLst>
          <pc:docMk/>
          <pc:sldMk cId="1562903043" sldId="2147472444"/>
        </pc:sldMkLst>
        <pc:spChg chg="mod">
          <ac:chgData name="Khaled Azmi Alkurd" userId="S::kalkurd@gmu.edu::d8a8490c-4d79-451d-b1ff-270e6eecfde3" providerId="AD" clId="Web-{D2008250-D6ED-3B45-A1E3-6A39BC966AF3}" dt="2026-01-14T04:16:27.872" v="41" actId="20577"/>
          <ac:spMkLst>
            <pc:docMk/>
            <pc:sldMk cId="1562903043" sldId="2147472444"/>
            <ac:spMk id="9" creationId="{7A8CE550-7088-2669-9C88-0937CA68606D}"/>
          </ac:spMkLst>
        </pc:spChg>
      </pc:sldChg>
      <pc:sldChg chg="addSp delSp modSp">
        <pc:chgData name="Khaled Azmi Alkurd" userId="S::kalkurd@gmu.edu::d8a8490c-4d79-451d-b1ff-270e6eecfde3" providerId="AD" clId="Web-{D2008250-D6ED-3B45-A1E3-6A39BC966AF3}" dt="2026-01-14T04:39:18.579" v="227" actId="20577"/>
        <pc:sldMkLst>
          <pc:docMk/>
          <pc:sldMk cId="1998565782" sldId="2147472446"/>
        </pc:sldMkLst>
        <pc:spChg chg="add">
          <ac:chgData name="Khaled Azmi Alkurd" userId="S::kalkurd@gmu.edu::d8a8490c-4d79-451d-b1ff-270e6eecfde3" providerId="AD" clId="Web-{D2008250-D6ED-3B45-A1E3-6A39BC966AF3}" dt="2026-01-14T04:18:32.521" v="88"/>
          <ac:spMkLst>
            <pc:docMk/>
            <pc:sldMk cId="1998565782" sldId="2147472446"/>
            <ac:spMk id="8" creationId="{5B3147EA-3CFF-6F45-B099-AEF38F94E9D4}"/>
          </ac:spMkLst>
        </pc:spChg>
        <pc:spChg chg="add mod">
          <ac:chgData name="Khaled Azmi Alkurd" userId="S::kalkurd@gmu.edu::d8a8490c-4d79-451d-b1ff-270e6eecfde3" providerId="AD" clId="Web-{D2008250-D6ED-3B45-A1E3-6A39BC966AF3}" dt="2026-01-14T04:39:18.579" v="227" actId="20577"/>
          <ac:spMkLst>
            <pc:docMk/>
            <pc:sldMk cId="1998565782" sldId="2147472446"/>
            <ac:spMk id="15" creationId="{F5A87B64-B5E5-E07A-89C4-5375429694C9}"/>
          </ac:spMkLst>
        </pc:spChg>
        <pc:spChg chg="add mod">
          <ac:chgData name="Khaled Azmi Alkurd" userId="S::kalkurd@gmu.edu::d8a8490c-4d79-451d-b1ff-270e6eecfde3" providerId="AD" clId="Web-{D2008250-D6ED-3B45-A1E3-6A39BC966AF3}" dt="2026-01-14T04:33:45.440" v="206" actId="1076"/>
          <ac:spMkLst>
            <pc:docMk/>
            <pc:sldMk cId="1998565782" sldId="2147472446"/>
            <ac:spMk id="22" creationId="{06D07998-B601-2D19-A4B3-18C00C1B45E5}"/>
          </ac:spMkLst>
        </pc:spChg>
        <pc:spChg chg="add del mod">
          <ac:chgData name="Khaled Azmi Alkurd" userId="S::kalkurd@gmu.edu::d8a8490c-4d79-451d-b1ff-270e6eecfde3" providerId="AD" clId="Web-{D2008250-D6ED-3B45-A1E3-6A39BC966AF3}" dt="2026-01-14T04:26:16.395" v="124" actId="14100"/>
          <ac:spMkLst>
            <pc:docMk/>
            <pc:sldMk cId="1998565782" sldId="2147472446"/>
            <ac:spMk id="23" creationId="{6F7F026D-A2E6-36FA-DCE5-A96A072418BC}"/>
          </ac:spMkLst>
        </pc:spChg>
        <pc:spChg chg="add mod">
          <ac:chgData name="Khaled Azmi Alkurd" userId="S::kalkurd@gmu.edu::d8a8490c-4d79-451d-b1ff-270e6eecfde3" providerId="AD" clId="Web-{D2008250-D6ED-3B45-A1E3-6A39BC966AF3}" dt="2026-01-14T04:33:51.784" v="207" actId="1076"/>
          <ac:spMkLst>
            <pc:docMk/>
            <pc:sldMk cId="1998565782" sldId="2147472446"/>
            <ac:spMk id="24" creationId="{298C9059-EA68-F732-5FAB-4A6F425CD81F}"/>
          </ac:spMkLst>
        </pc:spChg>
        <pc:grpChg chg="mod">
          <ac:chgData name="Khaled Azmi Alkurd" userId="S::kalkurd@gmu.edu::d8a8490c-4d79-451d-b1ff-270e6eecfde3" providerId="AD" clId="Web-{D2008250-D6ED-3B45-A1E3-6A39BC966AF3}" dt="2026-01-14T04:33:41.314" v="204" actId="1076"/>
          <ac:grpSpMkLst>
            <pc:docMk/>
            <pc:sldMk cId="1998565782" sldId="2147472446"/>
            <ac:grpSpMk id="27" creationId="{6A5CD9C1-A79F-88FA-BAF6-98FBA8AC543E}"/>
          </ac:grpSpMkLst>
        </pc:grpChg>
      </pc:sldChg>
      <pc:sldChg chg="addSp delSp modSp">
        <pc:chgData name="Khaled Azmi Alkurd" userId="S::kalkurd@gmu.edu::d8a8490c-4d79-451d-b1ff-270e6eecfde3" providerId="AD" clId="Web-{D2008250-D6ED-3B45-A1E3-6A39BC966AF3}" dt="2026-01-14T04:20:21.697" v="110" actId="1076"/>
        <pc:sldMkLst>
          <pc:docMk/>
          <pc:sldMk cId="735017481" sldId="2147472448"/>
        </pc:sldMkLst>
        <pc:spChg chg="mod ord">
          <ac:chgData name="Khaled Azmi Alkurd" userId="S::kalkurd@gmu.edu::d8a8490c-4d79-451d-b1ff-270e6eecfde3" providerId="AD" clId="Web-{D2008250-D6ED-3B45-A1E3-6A39BC966AF3}" dt="2026-01-14T04:20:21.697" v="110" actId="1076"/>
          <ac:spMkLst>
            <pc:docMk/>
            <pc:sldMk cId="735017481" sldId="2147472448"/>
            <ac:spMk id="7" creationId="{2847D536-25ED-B1BC-A95C-232A93F2372E}"/>
          </ac:spMkLst>
        </pc:spChg>
        <pc:spChg chg="add ord">
          <ac:chgData name="Khaled Azmi Alkurd" userId="S::kalkurd@gmu.edu::d8a8490c-4d79-451d-b1ff-270e6eecfde3" providerId="AD" clId="Web-{D2008250-D6ED-3B45-A1E3-6A39BC966AF3}" dt="2026-01-14T04:20:10.994" v="108"/>
          <ac:spMkLst>
            <pc:docMk/>
            <pc:sldMk cId="735017481" sldId="2147472448"/>
            <ac:spMk id="15" creationId="{786650FA-F7D8-8AD8-318C-75FA18FB01B1}"/>
          </ac:spMkLst>
        </pc:spChg>
      </pc:sldChg>
    </pc:docChg>
  </pc:docChgLst>
  <pc:docChgLst>
    <pc:chgData name="Khaled Azmi Alkurd" userId="S::kalkurd@gmu.edu::d8a8490c-4d79-451d-b1ff-270e6eecfde3" providerId="AD" clId="Web-{2021CEBC-4555-01EC-5573-E27ED5B1CACE}"/>
    <pc:docChg chg="addSld delSld modSld sldOrd">
      <pc:chgData name="Khaled Azmi Alkurd" userId="S::kalkurd@gmu.edu::d8a8490c-4d79-451d-b1ff-270e6eecfde3" providerId="AD" clId="Web-{2021CEBC-4555-01EC-5573-E27ED5B1CACE}" dt="2026-01-13T10:00:11.156" v="1439"/>
      <pc:docMkLst>
        <pc:docMk/>
      </pc:docMkLst>
      <pc:sldChg chg="addSp delSp modSp">
        <pc:chgData name="Khaled Azmi Alkurd" userId="S::kalkurd@gmu.edu::d8a8490c-4d79-451d-b1ff-270e6eecfde3" providerId="AD" clId="Web-{2021CEBC-4555-01EC-5573-E27ED5B1CACE}" dt="2026-01-13T08:50:21.125" v="555"/>
        <pc:sldMkLst>
          <pc:docMk/>
          <pc:sldMk cId="158379550" sldId="2305"/>
        </pc:sldMkLst>
        <pc:spChg chg="add">
          <ac:chgData name="Khaled Azmi Alkurd" userId="S::kalkurd@gmu.edu::d8a8490c-4d79-451d-b1ff-270e6eecfde3" providerId="AD" clId="Web-{2021CEBC-4555-01EC-5573-E27ED5B1CACE}" dt="2026-01-13T08:50:21.125" v="555"/>
          <ac:spMkLst>
            <pc:docMk/>
            <pc:sldMk cId="158379550" sldId="2305"/>
            <ac:spMk id="8" creationId="{3620BA7F-8E4E-F6D8-D9C9-9D2EB635FC96}"/>
          </ac:spMkLst>
        </pc:spChg>
      </pc:sldChg>
      <pc:sldChg chg="addSp delSp modSp add">
        <pc:chgData name="Khaled Azmi Alkurd" userId="S::kalkurd@gmu.edu::d8a8490c-4d79-451d-b1ff-270e6eecfde3" providerId="AD" clId="Web-{2021CEBC-4555-01EC-5573-E27ED5B1CACE}" dt="2026-01-13T10:00:11.156" v="1439"/>
        <pc:sldMkLst>
          <pc:docMk/>
          <pc:sldMk cId="1069076631" sldId="2147471176"/>
        </pc:sldMkLst>
        <pc:spChg chg="mod">
          <ac:chgData name="Khaled Azmi Alkurd" userId="S::kalkurd@gmu.edu::d8a8490c-4d79-451d-b1ff-270e6eecfde3" providerId="AD" clId="Web-{2021CEBC-4555-01EC-5573-E27ED5B1CACE}" dt="2026-01-13T09:54:24.772" v="1368" actId="20577"/>
          <ac:spMkLst>
            <pc:docMk/>
            <pc:sldMk cId="1069076631" sldId="2147471176"/>
            <ac:spMk id="2" creationId="{31967DD4-5A6B-B1E0-CA40-A08F44BB373F}"/>
          </ac:spMkLst>
        </pc:spChg>
        <pc:spChg chg="mod">
          <ac:chgData name="Khaled Azmi Alkurd" userId="S::kalkurd@gmu.edu::d8a8490c-4d79-451d-b1ff-270e6eecfde3" providerId="AD" clId="Web-{2021CEBC-4555-01EC-5573-E27ED5B1CACE}" dt="2026-01-13T09:58:24.372" v="1417" actId="1076"/>
          <ac:spMkLst>
            <pc:docMk/>
            <pc:sldMk cId="1069076631" sldId="2147471176"/>
            <ac:spMk id="5" creationId="{72A45991-FE09-63F6-1DD9-092343BE23A5}"/>
          </ac:spMkLst>
        </pc:spChg>
        <pc:spChg chg="add mod">
          <ac:chgData name="Khaled Azmi Alkurd" userId="S::kalkurd@gmu.edu::d8a8490c-4d79-451d-b1ff-270e6eecfde3" providerId="AD" clId="Web-{2021CEBC-4555-01EC-5573-E27ED5B1CACE}" dt="2026-01-13T09:56:08.494" v="1382" actId="14100"/>
          <ac:spMkLst>
            <pc:docMk/>
            <pc:sldMk cId="1069076631" sldId="2147471176"/>
            <ac:spMk id="8" creationId="{567EFBF7-1CCD-DF6A-6C32-1B050A4D5E12}"/>
          </ac:spMkLst>
        </pc:spChg>
        <pc:spChg chg="mod">
          <ac:chgData name="Khaled Azmi Alkurd" userId="S::kalkurd@gmu.edu::d8a8490c-4d79-451d-b1ff-270e6eecfde3" providerId="AD" clId="Web-{2021CEBC-4555-01EC-5573-E27ED5B1CACE}" dt="2026-01-13T07:12:39.827" v="264" actId="20577"/>
          <ac:spMkLst>
            <pc:docMk/>
            <pc:sldMk cId="1069076631" sldId="2147471176"/>
            <ac:spMk id="15" creationId="{1BB29F88-6019-66A5-4668-5EC09C7D0D62}"/>
          </ac:spMkLst>
        </pc:spChg>
        <pc:spChg chg="mod">
          <ac:chgData name="Khaled Azmi Alkurd" userId="S::kalkurd@gmu.edu::d8a8490c-4d79-451d-b1ff-270e6eecfde3" providerId="AD" clId="Web-{2021CEBC-4555-01EC-5573-E27ED5B1CACE}" dt="2026-01-13T07:12:45.765" v="270" actId="20577"/>
          <ac:spMkLst>
            <pc:docMk/>
            <pc:sldMk cId="1069076631" sldId="2147471176"/>
            <ac:spMk id="16" creationId="{61C0EC47-17B2-D260-9314-A387700C359C}"/>
          </ac:spMkLst>
        </pc:spChg>
        <pc:spChg chg="mod">
          <ac:chgData name="Khaled Azmi Alkurd" userId="S::kalkurd@gmu.edu::d8a8490c-4d79-451d-b1ff-270e6eecfde3" providerId="AD" clId="Web-{2021CEBC-4555-01EC-5573-E27ED5B1CACE}" dt="2026-01-13T07:14:07.268" v="373" actId="20577"/>
          <ac:spMkLst>
            <pc:docMk/>
            <pc:sldMk cId="1069076631" sldId="2147471176"/>
            <ac:spMk id="17" creationId="{F1F14F29-D652-7310-C817-4FADE962550F}"/>
          </ac:spMkLst>
        </pc:spChg>
        <pc:spChg chg="mod">
          <ac:chgData name="Khaled Azmi Alkurd" userId="S::kalkurd@gmu.edu::d8a8490c-4d79-451d-b1ff-270e6eecfde3" providerId="AD" clId="Web-{2021CEBC-4555-01EC-5573-E27ED5B1CACE}" dt="2026-01-13T09:50:26.291" v="1336" actId="20577"/>
          <ac:spMkLst>
            <pc:docMk/>
            <pc:sldMk cId="1069076631" sldId="2147471176"/>
            <ac:spMk id="20" creationId="{957D99E3-4D69-F302-1188-0F6440477A6C}"/>
          </ac:spMkLst>
        </pc:spChg>
        <pc:spChg chg="mod">
          <ac:chgData name="Khaled Azmi Alkurd" userId="S::kalkurd@gmu.edu::d8a8490c-4d79-451d-b1ff-270e6eecfde3" providerId="AD" clId="Web-{2021CEBC-4555-01EC-5573-E27ED5B1CACE}" dt="2026-01-13T07:13:59.237" v="370" actId="20577"/>
          <ac:spMkLst>
            <pc:docMk/>
            <pc:sldMk cId="1069076631" sldId="2147471176"/>
            <ac:spMk id="24" creationId="{88D285BE-F4B7-A869-E918-FEE240A09A6C}"/>
          </ac:spMkLst>
        </pc:spChg>
        <pc:spChg chg="add mod ord">
          <ac:chgData name="Khaled Azmi Alkurd" userId="S::kalkurd@gmu.edu::d8a8490c-4d79-451d-b1ff-270e6eecfde3" providerId="AD" clId="Web-{2021CEBC-4555-01EC-5573-E27ED5B1CACE}" dt="2026-01-13T10:00:11.156" v="1439"/>
          <ac:spMkLst>
            <pc:docMk/>
            <pc:sldMk cId="1069076631" sldId="2147471176"/>
            <ac:spMk id="30" creationId="{CA5DD52D-8105-0622-54D5-DC35D7378356}"/>
          </ac:spMkLst>
        </pc:spChg>
      </pc:sldChg>
      <pc:sldChg chg="modSp">
        <pc:chgData name="Khaled Azmi Alkurd" userId="S::kalkurd@gmu.edu::d8a8490c-4d79-451d-b1ff-270e6eecfde3" providerId="AD" clId="Web-{2021CEBC-4555-01EC-5573-E27ED5B1CACE}" dt="2026-01-13T09:51:04.903" v="1351" actId="20577"/>
        <pc:sldMkLst>
          <pc:docMk/>
          <pc:sldMk cId="3246686144" sldId="2147471452"/>
        </pc:sldMkLst>
        <pc:spChg chg="mod">
          <ac:chgData name="Khaled Azmi Alkurd" userId="S::kalkurd@gmu.edu::d8a8490c-4d79-451d-b1ff-270e6eecfde3" providerId="AD" clId="Web-{2021CEBC-4555-01EC-5573-E27ED5B1CACE}" dt="2026-01-13T09:51:04.903" v="1351" actId="20577"/>
          <ac:spMkLst>
            <pc:docMk/>
            <pc:sldMk cId="3246686144" sldId="2147471452"/>
            <ac:spMk id="8" creationId="{EF764310-F6C8-4D58-667B-502055AF4EB8}"/>
          </ac:spMkLst>
        </pc:spChg>
        <pc:spChg chg="mod">
          <ac:chgData name="Khaled Azmi Alkurd" userId="S::kalkurd@gmu.edu::d8a8490c-4d79-451d-b1ff-270e6eecfde3" providerId="AD" clId="Web-{2021CEBC-4555-01EC-5573-E27ED5B1CACE}" dt="2026-01-13T08:39:07.921" v="498" actId="20577"/>
          <ac:spMkLst>
            <pc:docMk/>
            <pc:sldMk cId="3246686144" sldId="2147471452"/>
            <ac:spMk id="19" creationId="{B3242CC5-6649-DED9-AEDD-2D260F631E2E}"/>
          </ac:spMkLst>
        </pc:spChg>
      </pc:sldChg>
      <pc:sldChg chg="addSp modSp">
        <pc:chgData name="Khaled Azmi Alkurd" userId="S::kalkurd@gmu.edu::d8a8490c-4d79-451d-b1ff-270e6eecfde3" providerId="AD" clId="Web-{2021CEBC-4555-01EC-5573-E27ED5B1CACE}" dt="2026-01-13T09:51:57.641" v="1353" actId="20577"/>
        <pc:sldMkLst>
          <pc:docMk/>
          <pc:sldMk cId="3720278267" sldId="2147471455"/>
        </pc:sldMkLst>
        <pc:spChg chg="add mod">
          <ac:chgData name="Khaled Azmi Alkurd" userId="S::kalkurd@gmu.edu::d8a8490c-4d79-451d-b1ff-270e6eecfde3" providerId="AD" clId="Web-{2021CEBC-4555-01EC-5573-E27ED5B1CACE}" dt="2026-01-13T08:35:23.308" v="475" actId="1076"/>
          <ac:spMkLst>
            <pc:docMk/>
            <pc:sldMk cId="3720278267" sldId="2147471455"/>
            <ac:spMk id="10" creationId="{B696FEF3-69FF-49EC-758C-710F62EDA5DB}"/>
          </ac:spMkLst>
        </pc:spChg>
        <pc:spChg chg="mod">
          <ac:chgData name="Khaled Azmi Alkurd" userId="S::kalkurd@gmu.edu::d8a8490c-4d79-451d-b1ff-270e6eecfde3" providerId="AD" clId="Web-{2021CEBC-4555-01EC-5573-E27ED5B1CACE}" dt="2026-01-13T08:43:22.158" v="518" actId="20577"/>
          <ac:spMkLst>
            <pc:docMk/>
            <pc:sldMk cId="3720278267" sldId="2147471455"/>
            <ac:spMk id="14" creationId="{6D153E6D-74E4-1FCF-0ED3-6871874D8FD6}"/>
          </ac:spMkLst>
        </pc:spChg>
        <pc:spChg chg="mod">
          <ac:chgData name="Khaled Azmi Alkurd" userId="S::kalkurd@gmu.edu::d8a8490c-4d79-451d-b1ff-270e6eecfde3" providerId="AD" clId="Web-{2021CEBC-4555-01EC-5573-E27ED5B1CACE}" dt="2026-01-13T08:35:13.199" v="472" actId="20577"/>
          <ac:spMkLst>
            <pc:docMk/>
            <pc:sldMk cId="3720278267" sldId="2147471455"/>
            <ac:spMk id="15" creationId="{C14C08D9-CCEF-2276-0FEC-4440EBA8EDC9}"/>
          </ac:spMkLst>
        </pc:spChg>
        <pc:spChg chg="mod">
          <ac:chgData name="Khaled Azmi Alkurd" userId="S::kalkurd@gmu.edu::d8a8490c-4d79-451d-b1ff-270e6eecfde3" providerId="AD" clId="Web-{2021CEBC-4555-01EC-5573-E27ED5B1CACE}" dt="2026-01-13T08:47:34.731" v="531" actId="20577"/>
          <ac:spMkLst>
            <pc:docMk/>
            <pc:sldMk cId="3720278267" sldId="2147471455"/>
            <ac:spMk id="16" creationId="{5BDEA917-94A5-D4AD-C2B8-719462008E64}"/>
          </ac:spMkLst>
        </pc:spChg>
        <pc:spChg chg="add mod">
          <ac:chgData name="Khaled Azmi Alkurd" userId="S::kalkurd@gmu.edu::d8a8490c-4d79-451d-b1ff-270e6eecfde3" providerId="AD" clId="Web-{2021CEBC-4555-01EC-5573-E27ED5B1CACE}" dt="2026-01-13T08:36:01.949" v="492" actId="1076"/>
          <ac:spMkLst>
            <pc:docMk/>
            <pc:sldMk cId="3720278267" sldId="2147471455"/>
            <ac:spMk id="20" creationId="{BEB1AEE9-795A-CB64-B008-790887F1502C}"/>
          </ac:spMkLst>
        </pc:spChg>
        <pc:spChg chg="add mod">
          <ac:chgData name="Khaled Azmi Alkurd" userId="S::kalkurd@gmu.edu::d8a8490c-4d79-451d-b1ff-270e6eecfde3" providerId="AD" clId="Web-{2021CEBC-4555-01EC-5573-E27ED5B1CACE}" dt="2026-01-13T09:51:57.641" v="1353" actId="20577"/>
          <ac:spMkLst>
            <pc:docMk/>
            <pc:sldMk cId="3720278267" sldId="2147471455"/>
            <ac:spMk id="23" creationId="{D76B7A1C-1332-11FA-FE76-AC3C8AE1EBA6}"/>
          </ac:spMkLst>
        </pc:spChg>
      </pc:sldChg>
      <pc:sldChg chg="addSp modSp">
        <pc:chgData name="Khaled Azmi Alkurd" userId="S::kalkurd@gmu.edu::d8a8490c-4d79-451d-b1ff-270e6eecfde3" providerId="AD" clId="Web-{2021CEBC-4555-01EC-5573-E27ED5B1CACE}" dt="2026-01-13T08:57:27.183" v="749" actId="20577"/>
        <pc:sldMkLst>
          <pc:docMk/>
          <pc:sldMk cId="1562903043" sldId="2147472444"/>
        </pc:sldMkLst>
        <pc:spChg chg="mod">
          <ac:chgData name="Khaled Azmi Alkurd" userId="S::kalkurd@gmu.edu::d8a8490c-4d79-451d-b1ff-270e6eecfde3" providerId="AD" clId="Web-{2021CEBC-4555-01EC-5573-E27ED5B1CACE}" dt="2026-01-13T08:57:27.183" v="749" actId="20577"/>
          <ac:spMkLst>
            <pc:docMk/>
            <pc:sldMk cId="1562903043" sldId="2147472444"/>
            <ac:spMk id="4" creationId="{4D51B276-1AFE-22B5-7B87-936AC862FCE2}"/>
          </ac:spMkLst>
        </pc:spChg>
        <pc:spChg chg="add mod">
          <ac:chgData name="Khaled Azmi Alkurd" userId="S::kalkurd@gmu.edu::d8a8490c-4d79-451d-b1ff-270e6eecfde3" providerId="AD" clId="Web-{2021CEBC-4555-01EC-5573-E27ED5B1CACE}" dt="2026-01-13T08:39:38.577" v="500" actId="20577"/>
          <ac:spMkLst>
            <pc:docMk/>
            <pc:sldMk cId="1562903043" sldId="2147472444"/>
            <ac:spMk id="6" creationId="{BA75B00E-3E1D-9C2F-1E20-F1B7351395E0}"/>
          </ac:spMkLst>
        </pc:spChg>
        <pc:spChg chg="add mod">
          <ac:chgData name="Khaled Azmi Alkurd" userId="S::kalkurd@gmu.edu::d8a8490c-4d79-451d-b1ff-270e6eecfde3" providerId="AD" clId="Web-{2021CEBC-4555-01EC-5573-E27ED5B1CACE}" dt="2026-01-13T08:51:11.033" v="561" actId="20577"/>
          <ac:spMkLst>
            <pc:docMk/>
            <pc:sldMk cId="1562903043" sldId="2147472444"/>
            <ac:spMk id="9" creationId="{7A8CE550-7088-2669-9C88-0937CA68606D}"/>
          </ac:spMkLst>
        </pc:spChg>
        <pc:graphicFrameChg chg="mod modGraphic">
          <ac:chgData name="Khaled Azmi Alkurd" userId="S::kalkurd@gmu.edu::d8a8490c-4d79-451d-b1ff-270e6eecfde3" providerId="AD" clId="Web-{2021CEBC-4555-01EC-5573-E27ED5B1CACE}" dt="2026-01-13T08:56:45.694" v="748" actId="1076"/>
          <ac:graphicFrameMkLst>
            <pc:docMk/>
            <pc:sldMk cId="1562903043" sldId="2147472444"/>
            <ac:graphicFrameMk id="26" creationId="{25BECAAD-A7F0-A6B9-5729-CE992C5AD733}"/>
          </ac:graphicFrameMkLst>
        </pc:graphicFrameChg>
        <pc:picChg chg="mod">
          <ac:chgData name="Khaled Azmi Alkurd" userId="S::kalkurd@gmu.edu::d8a8490c-4d79-451d-b1ff-270e6eecfde3" providerId="AD" clId="Web-{2021CEBC-4555-01EC-5573-E27ED5B1CACE}" dt="2026-01-13T08:40:30.067" v="506" actId="1076"/>
          <ac:picMkLst>
            <pc:docMk/>
            <pc:sldMk cId="1562903043" sldId="2147472444"/>
            <ac:picMk id="8" creationId="{AA906DC3-8B31-122E-ED0C-83B5D097DC57}"/>
          </ac:picMkLst>
        </pc:picChg>
        <pc:picChg chg="mod">
          <ac:chgData name="Khaled Azmi Alkurd" userId="S::kalkurd@gmu.edu::d8a8490c-4d79-451d-b1ff-270e6eecfde3" providerId="AD" clId="Web-{2021CEBC-4555-01EC-5573-E27ED5B1CACE}" dt="2026-01-13T08:40:11.831" v="504" actId="1076"/>
          <ac:picMkLst>
            <pc:docMk/>
            <pc:sldMk cId="1562903043" sldId="2147472444"/>
            <ac:picMk id="27" creationId="{56771E8E-0915-3F0F-9AAF-4B9BB5EDBE1A}"/>
          </ac:picMkLst>
        </pc:picChg>
      </pc:sldChg>
      <pc:sldChg chg="addSp delSp modSp">
        <pc:chgData name="Khaled Azmi Alkurd" userId="S::kalkurd@gmu.edu::d8a8490c-4d79-451d-b1ff-270e6eecfde3" providerId="AD" clId="Web-{2021CEBC-4555-01EC-5573-E27ED5B1CACE}" dt="2026-01-13T09:15:05.709" v="869"/>
        <pc:sldMkLst>
          <pc:docMk/>
          <pc:sldMk cId="1998565782" sldId="2147472446"/>
        </pc:sldMkLst>
        <pc:spChg chg="mod">
          <ac:chgData name="Khaled Azmi Alkurd" userId="S::kalkurd@gmu.edu::d8a8490c-4d79-451d-b1ff-270e6eecfde3" providerId="AD" clId="Web-{2021CEBC-4555-01EC-5573-E27ED5B1CACE}" dt="2026-01-13T09:10:32.464" v="854" actId="20577"/>
          <ac:spMkLst>
            <pc:docMk/>
            <pc:sldMk cId="1998565782" sldId="2147472446"/>
            <ac:spMk id="2" creationId="{7DA4A670-4F96-D5A1-F22E-3FD36F916BB8}"/>
          </ac:spMkLst>
        </pc:spChg>
        <pc:spChg chg="mod">
          <ac:chgData name="Khaled Azmi Alkurd" userId="S::kalkurd@gmu.edu::d8a8490c-4d79-451d-b1ff-270e6eecfde3" providerId="AD" clId="Web-{2021CEBC-4555-01EC-5573-E27ED5B1CACE}" dt="2026-01-13T09:05:09.786" v="759" actId="20577"/>
          <ac:spMkLst>
            <pc:docMk/>
            <pc:sldMk cId="1998565782" sldId="2147472446"/>
            <ac:spMk id="17" creationId="{F00FB85E-648C-C0E7-E137-F3A233ED4C78}"/>
          </ac:spMkLst>
        </pc:spChg>
        <pc:spChg chg="add">
          <ac:chgData name="Khaled Azmi Alkurd" userId="S::kalkurd@gmu.edu::d8a8490c-4d79-451d-b1ff-270e6eecfde3" providerId="AD" clId="Web-{2021CEBC-4555-01EC-5573-E27ED5B1CACE}" dt="2026-01-13T08:48:55.342" v="539"/>
          <ac:spMkLst>
            <pc:docMk/>
            <pc:sldMk cId="1998565782" sldId="2147472446"/>
            <ac:spMk id="21" creationId="{D0EF3B6B-491A-C8BC-2A15-E7EFC0B5B55C}"/>
          </ac:spMkLst>
        </pc:spChg>
        <pc:spChg chg="add mod">
          <ac:chgData name="Khaled Azmi Alkurd" userId="S::kalkurd@gmu.edu::d8a8490c-4d79-451d-b1ff-270e6eecfde3" providerId="AD" clId="Web-{2021CEBC-4555-01EC-5573-E27ED5B1CACE}" dt="2026-01-13T09:07:40.477" v="798" actId="20577"/>
          <ac:spMkLst>
            <pc:docMk/>
            <pc:sldMk cId="1998565782" sldId="2147472446"/>
            <ac:spMk id="23" creationId="{6F7F026D-A2E6-36FA-DCE5-A96A072418BC}"/>
          </ac:spMkLst>
        </pc:spChg>
        <pc:grpChg chg="add mod">
          <ac:chgData name="Khaled Azmi Alkurd" userId="S::kalkurd@gmu.edu::d8a8490c-4d79-451d-b1ff-270e6eecfde3" providerId="AD" clId="Web-{2021CEBC-4555-01EC-5573-E27ED5B1CACE}" dt="2026-01-13T09:06:07.303" v="775" actId="1076"/>
          <ac:grpSpMkLst>
            <pc:docMk/>
            <pc:sldMk cId="1998565782" sldId="2147472446"/>
            <ac:grpSpMk id="27" creationId="{6A5CD9C1-A79F-88FA-BAF6-98FBA8AC543E}"/>
          </ac:grpSpMkLst>
        </pc:grpChg>
        <pc:graphicFrameChg chg="add mod modGraphic">
          <ac:chgData name="Khaled Azmi Alkurd" userId="S::kalkurd@gmu.edu::d8a8490c-4d79-451d-b1ff-270e6eecfde3" providerId="AD" clId="Web-{2021CEBC-4555-01EC-5573-E27ED5B1CACE}" dt="2026-01-13T09:15:05.709" v="869"/>
          <ac:graphicFrameMkLst>
            <pc:docMk/>
            <pc:sldMk cId="1998565782" sldId="2147472446"/>
            <ac:graphicFrameMk id="29" creationId="{CF1E6589-C37D-3B4B-0F14-ADC2F34C58F2}"/>
          </ac:graphicFrameMkLst>
        </pc:graphicFrameChg>
        <pc:picChg chg="mod modCrop">
          <ac:chgData name="Khaled Azmi Alkurd" userId="S::kalkurd@gmu.edu::d8a8490c-4d79-451d-b1ff-270e6eecfde3" providerId="AD" clId="Web-{2021CEBC-4555-01EC-5573-E27ED5B1CACE}" dt="2026-01-13T09:09:23.291" v="842"/>
          <ac:picMkLst>
            <pc:docMk/>
            <pc:sldMk cId="1998565782" sldId="2147472446"/>
            <ac:picMk id="4" creationId="{331E6B17-26A5-E4DF-3406-F922AE0B9D0B}"/>
          </ac:picMkLst>
        </pc:picChg>
      </pc:sldChg>
      <pc:sldChg chg="addSp delSp modSp">
        <pc:chgData name="Khaled Azmi Alkurd" userId="S::kalkurd@gmu.edu::d8a8490c-4d79-451d-b1ff-270e6eecfde3" providerId="AD" clId="Web-{2021CEBC-4555-01EC-5573-E27ED5B1CACE}" dt="2026-01-13T09:23:57.748" v="984" actId="1076"/>
        <pc:sldMkLst>
          <pc:docMk/>
          <pc:sldMk cId="1561532402" sldId="2147472447"/>
        </pc:sldMkLst>
        <pc:spChg chg="mod">
          <ac:chgData name="Khaled Azmi Alkurd" userId="S::kalkurd@gmu.edu::d8a8490c-4d79-451d-b1ff-270e6eecfde3" providerId="AD" clId="Web-{2021CEBC-4555-01EC-5573-E27ED5B1CACE}" dt="2026-01-13T09:18:25.316" v="927" actId="20577"/>
          <ac:spMkLst>
            <pc:docMk/>
            <pc:sldMk cId="1561532402" sldId="2147472447"/>
            <ac:spMk id="2" creationId="{001A9AC7-FC64-59B5-0770-0482ECDC2C1B}"/>
          </ac:spMkLst>
        </pc:spChg>
        <pc:spChg chg="add">
          <ac:chgData name="Khaled Azmi Alkurd" userId="S::kalkurd@gmu.edu::d8a8490c-4d79-451d-b1ff-270e6eecfde3" providerId="AD" clId="Web-{2021CEBC-4555-01EC-5573-E27ED5B1CACE}" dt="2026-01-13T08:49:00.671" v="540"/>
          <ac:spMkLst>
            <pc:docMk/>
            <pc:sldMk cId="1561532402" sldId="2147472447"/>
            <ac:spMk id="6" creationId="{74F3433B-8396-D80A-F975-10B59846BB76}"/>
          </ac:spMkLst>
        </pc:spChg>
        <pc:spChg chg="add mod">
          <ac:chgData name="Khaled Azmi Alkurd" userId="S::kalkurd@gmu.edu::d8a8490c-4d79-451d-b1ff-270e6eecfde3" providerId="AD" clId="Web-{2021CEBC-4555-01EC-5573-E27ED5B1CACE}" dt="2026-01-13T09:20:07.523" v="942" actId="20577"/>
          <ac:spMkLst>
            <pc:docMk/>
            <pc:sldMk cId="1561532402" sldId="2147472447"/>
            <ac:spMk id="12" creationId="{B388AEFB-AC0F-DB15-1223-9AC9087791D5}"/>
          </ac:spMkLst>
        </pc:spChg>
        <pc:spChg chg="mod">
          <ac:chgData name="Khaled Azmi Alkurd" userId="S::kalkurd@gmu.edu::d8a8490c-4d79-451d-b1ff-270e6eecfde3" providerId="AD" clId="Web-{2021CEBC-4555-01EC-5573-E27ED5B1CACE}" dt="2026-01-13T08:59:40.209" v="750" actId="14100"/>
          <ac:spMkLst>
            <pc:docMk/>
            <pc:sldMk cId="1561532402" sldId="2147472447"/>
            <ac:spMk id="16" creationId="{9B190FFE-9C86-EC9F-51AD-4C370C1E65D7}"/>
          </ac:spMkLst>
        </pc:spChg>
        <pc:spChg chg="mod">
          <ac:chgData name="Khaled Azmi Alkurd" userId="S::kalkurd@gmu.edu::d8a8490c-4d79-451d-b1ff-270e6eecfde3" providerId="AD" clId="Web-{2021CEBC-4555-01EC-5573-E27ED5B1CACE}" dt="2026-01-13T09:20:05.961" v="940" actId="20577"/>
          <ac:spMkLst>
            <pc:docMk/>
            <pc:sldMk cId="1561532402" sldId="2147472447"/>
            <ac:spMk id="21" creationId="{6E8ED707-1F75-C522-B9D2-2B531C27E3E9}"/>
          </ac:spMkLst>
        </pc:spChg>
        <pc:spChg chg="mod">
          <ac:chgData name="Khaled Azmi Alkurd" userId="S::kalkurd@gmu.edu::d8a8490c-4d79-451d-b1ff-270e6eecfde3" providerId="AD" clId="Web-{2021CEBC-4555-01EC-5573-E27ED5B1CACE}" dt="2026-01-13T09:19:05.349" v="937" actId="1076"/>
          <ac:spMkLst>
            <pc:docMk/>
            <pc:sldMk cId="1561532402" sldId="2147472447"/>
            <ac:spMk id="24" creationId="{0F2D2172-1A0B-4E5D-3A0A-C8AB7AD8AF9E}"/>
          </ac:spMkLst>
        </pc:spChg>
        <pc:spChg chg="mod">
          <ac:chgData name="Khaled Azmi Alkurd" userId="S::kalkurd@gmu.edu::d8a8490c-4d79-451d-b1ff-270e6eecfde3" providerId="AD" clId="Web-{2021CEBC-4555-01EC-5573-E27ED5B1CACE}" dt="2026-01-13T09:21:56.480" v="974" actId="1076"/>
          <ac:spMkLst>
            <pc:docMk/>
            <pc:sldMk cId="1561532402" sldId="2147472447"/>
            <ac:spMk id="25" creationId="{90362B15-DB14-6558-5DDA-3292D5BD7A3A}"/>
          </ac:spMkLst>
        </pc:spChg>
        <pc:spChg chg="mod">
          <ac:chgData name="Khaled Azmi Alkurd" userId="S::kalkurd@gmu.edu::d8a8490c-4d79-451d-b1ff-270e6eecfde3" providerId="AD" clId="Web-{2021CEBC-4555-01EC-5573-E27ED5B1CACE}" dt="2026-01-13T09:21:56.495" v="975" actId="1076"/>
          <ac:spMkLst>
            <pc:docMk/>
            <pc:sldMk cId="1561532402" sldId="2147472447"/>
            <ac:spMk id="27" creationId="{86BD19CC-45F1-554C-FE4B-28A560AFE7F2}"/>
          </ac:spMkLst>
        </pc:spChg>
        <pc:spChg chg="mod">
          <ac:chgData name="Khaled Azmi Alkurd" userId="S::kalkurd@gmu.edu::d8a8490c-4d79-451d-b1ff-270e6eecfde3" providerId="AD" clId="Web-{2021CEBC-4555-01EC-5573-E27ED5B1CACE}" dt="2026-01-13T09:21:56.511" v="976" actId="1076"/>
          <ac:spMkLst>
            <pc:docMk/>
            <pc:sldMk cId="1561532402" sldId="2147472447"/>
            <ac:spMk id="28" creationId="{25E6778B-60F8-A977-EC32-9AD220982204}"/>
          </ac:spMkLst>
        </pc:spChg>
        <pc:spChg chg="mod">
          <ac:chgData name="Khaled Azmi Alkurd" userId="S::kalkurd@gmu.edu::d8a8490c-4d79-451d-b1ff-270e6eecfde3" providerId="AD" clId="Web-{2021CEBC-4555-01EC-5573-E27ED5B1CACE}" dt="2026-01-13T09:23:57.748" v="984" actId="1076"/>
          <ac:spMkLst>
            <pc:docMk/>
            <pc:sldMk cId="1561532402" sldId="2147472447"/>
            <ac:spMk id="33" creationId="{88A5AC07-3083-55D8-8415-2E9E28135110}"/>
          </ac:spMkLst>
        </pc:spChg>
        <pc:graphicFrameChg chg="add mod modGraphic">
          <ac:chgData name="Khaled Azmi Alkurd" userId="S::kalkurd@gmu.edu::d8a8490c-4d79-451d-b1ff-270e6eecfde3" providerId="AD" clId="Web-{2021CEBC-4555-01EC-5573-E27ED5B1CACE}" dt="2026-01-13T09:17:33.282" v="917"/>
          <ac:graphicFrameMkLst>
            <pc:docMk/>
            <pc:sldMk cId="1561532402" sldId="2147472447"/>
            <ac:graphicFrameMk id="10" creationId="{5863B173-8AE8-44A4-FEB6-5B47657AB6D9}"/>
          </ac:graphicFrameMkLst>
        </pc:graphicFrameChg>
        <pc:picChg chg="mod modCrop">
          <ac:chgData name="Khaled Azmi Alkurd" userId="S::kalkurd@gmu.edu::d8a8490c-4d79-451d-b1ff-270e6eecfde3" providerId="AD" clId="Web-{2021CEBC-4555-01EC-5573-E27ED5B1CACE}" dt="2026-01-13T09:18:58.411" v="936"/>
          <ac:picMkLst>
            <pc:docMk/>
            <pc:sldMk cId="1561532402" sldId="2147472447"/>
            <ac:picMk id="3" creationId="{51787F71-BC29-B74A-00D3-7C48064D9106}"/>
          </ac:picMkLst>
        </pc:picChg>
        <pc:cxnChg chg="mod">
          <ac:chgData name="Khaled Azmi Alkurd" userId="S::kalkurd@gmu.edu::d8a8490c-4d79-451d-b1ff-270e6eecfde3" providerId="AD" clId="Web-{2021CEBC-4555-01EC-5573-E27ED5B1CACE}" dt="2026-01-13T09:23:54.654" v="983" actId="1076"/>
          <ac:cxnSpMkLst>
            <pc:docMk/>
            <pc:sldMk cId="1561532402" sldId="2147472447"/>
            <ac:cxnSpMk id="32" creationId="{09ACE60B-B227-DF92-FBEF-1639BC016F3A}"/>
          </ac:cxnSpMkLst>
        </pc:cxnChg>
      </pc:sldChg>
      <pc:sldChg chg="addSp delSp modSp">
        <pc:chgData name="Khaled Azmi Alkurd" userId="S::kalkurd@gmu.edu::d8a8490c-4d79-451d-b1ff-270e6eecfde3" providerId="AD" clId="Web-{2021CEBC-4555-01EC-5573-E27ED5B1CACE}" dt="2026-01-13T09:52:54.128" v="1357"/>
        <pc:sldMkLst>
          <pc:docMk/>
          <pc:sldMk cId="735017481" sldId="2147472448"/>
        </pc:sldMkLst>
        <pc:spChg chg="mod">
          <ac:chgData name="Khaled Azmi Alkurd" userId="S::kalkurd@gmu.edu::d8a8490c-4d79-451d-b1ff-270e6eecfde3" providerId="AD" clId="Web-{2021CEBC-4555-01EC-5573-E27ED5B1CACE}" dt="2026-01-13T09:33:03.658" v="1133" actId="1076"/>
          <ac:spMkLst>
            <pc:docMk/>
            <pc:sldMk cId="735017481" sldId="2147472448"/>
            <ac:spMk id="7" creationId="{2847D536-25ED-B1BC-A95C-232A93F2372E}"/>
          </ac:spMkLst>
        </pc:spChg>
        <pc:spChg chg="mod">
          <ac:chgData name="Khaled Azmi Alkurd" userId="S::kalkurd@gmu.edu::d8a8490c-4d79-451d-b1ff-270e6eecfde3" providerId="AD" clId="Web-{2021CEBC-4555-01EC-5573-E27ED5B1CACE}" dt="2026-01-13T09:52:51.049" v="1355" actId="20577"/>
          <ac:spMkLst>
            <pc:docMk/>
            <pc:sldMk cId="735017481" sldId="2147472448"/>
            <ac:spMk id="12" creationId="{9265D1A0-45B5-E34A-D381-94FEA6590F3C}"/>
          </ac:spMkLst>
        </pc:spChg>
        <pc:spChg chg="add mod">
          <ac:chgData name="Khaled Azmi Alkurd" userId="S::kalkurd@gmu.edu::d8a8490c-4d79-451d-b1ff-270e6eecfde3" providerId="AD" clId="Web-{2021CEBC-4555-01EC-5573-E27ED5B1CACE}" dt="2026-01-13T09:52:45.377" v="1354" actId="20577"/>
          <ac:spMkLst>
            <pc:docMk/>
            <pc:sldMk cId="735017481" sldId="2147472448"/>
            <ac:spMk id="14" creationId="{50F08C9F-9FB4-4BB2-9A51-D89320312618}"/>
          </ac:spMkLst>
        </pc:spChg>
        <pc:graphicFrameChg chg="mod modGraphic">
          <ac:chgData name="Khaled Azmi Alkurd" userId="S::kalkurd@gmu.edu::d8a8490c-4d79-451d-b1ff-270e6eecfde3" providerId="AD" clId="Web-{2021CEBC-4555-01EC-5573-E27ED5B1CACE}" dt="2026-01-13T09:40:01.145" v="1236"/>
          <ac:graphicFrameMkLst>
            <pc:docMk/>
            <pc:sldMk cId="735017481" sldId="2147472448"/>
            <ac:graphicFrameMk id="3" creationId="{1E2827D1-C5AB-0F5D-2023-AA2260A3634F}"/>
          </ac:graphicFrameMkLst>
        </pc:graphicFrameChg>
        <pc:graphicFrameChg chg="add mod modGraphic">
          <ac:chgData name="Khaled Azmi Alkurd" userId="S::kalkurd@gmu.edu::d8a8490c-4d79-451d-b1ff-270e6eecfde3" providerId="AD" clId="Web-{2021CEBC-4555-01EC-5573-E27ED5B1CACE}" dt="2026-01-13T09:52:54.128" v="1357"/>
          <ac:graphicFrameMkLst>
            <pc:docMk/>
            <pc:sldMk cId="735017481" sldId="2147472448"/>
            <ac:graphicFrameMk id="11" creationId="{D2DD68DC-0955-37FA-7DEF-C581C45D173A}"/>
          </ac:graphicFrameMkLst>
        </pc:graphicFrameChg>
        <pc:picChg chg="mod modCrop">
          <ac:chgData name="Khaled Azmi Alkurd" userId="S::kalkurd@gmu.edu::d8a8490c-4d79-451d-b1ff-270e6eecfde3" providerId="AD" clId="Web-{2021CEBC-4555-01EC-5573-E27ED5B1CACE}" dt="2026-01-13T09:33:43.707" v="1137" actId="1076"/>
          <ac:picMkLst>
            <pc:docMk/>
            <pc:sldMk cId="735017481" sldId="2147472448"/>
            <ac:picMk id="8" creationId="{89308627-29C4-D9A7-774C-3D9033252E38}"/>
          </ac:picMkLst>
        </pc:picChg>
      </pc:sldChg>
    </pc:docChg>
  </pc:docChgLst>
  <pc:docChgLst>
    <pc:chgData name="Nikita Chandrasing" userId="S::nchandr3@gmu.edu::a6614213-6536-4d81-9686-55df5591b5b2" providerId="AD" clId="Web-{05C823E0-AE72-70E3-E7D6-E763129FF224}"/>
    <pc:docChg chg="modSld">
      <pc:chgData name="Nikita Chandrasing" userId="S::nchandr3@gmu.edu::a6614213-6536-4d81-9686-55df5591b5b2" providerId="AD" clId="Web-{05C823E0-AE72-70E3-E7D6-E763129FF224}" dt="2026-01-14T02:35:23.491" v="106" actId="14100"/>
      <pc:docMkLst>
        <pc:docMk/>
      </pc:docMkLst>
      <pc:sldChg chg="addSp modSp">
        <pc:chgData name="Nikita Chandrasing" userId="S::nchandr3@gmu.edu::a6614213-6536-4d81-9686-55df5591b5b2" providerId="AD" clId="Web-{05C823E0-AE72-70E3-E7D6-E763129FF224}" dt="2026-01-14T02:35:23.491" v="106" actId="14100"/>
        <pc:sldMkLst>
          <pc:docMk/>
          <pc:sldMk cId="3176373537" sldId="2147472453"/>
        </pc:sldMkLst>
      </pc:sldChg>
      <pc:sldChg chg="modSp">
        <pc:chgData name="Nikita Chandrasing" userId="S::nchandr3@gmu.edu::a6614213-6536-4d81-9686-55df5591b5b2" providerId="AD" clId="Web-{05C823E0-AE72-70E3-E7D6-E763129FF224}" dt="2026-01-14T02:26:29.480" v="7" actId="20577"/>
        <pc:sldMkLst>
          <pc:docMk/>
          <pc:sldMk cId="2143509530" sldId="2147472455"/>
        </pc:sldMkLst>
        <pc:spChg chg="mod">
          <ac:chgData name="Nikita Chandrasing" userId="S::nchandr3@gmu.edu::a6614213-6536-4d81-9686-55df5591b5b2" providerId="AD" clId="Web-{05C823E0-AE72-70E3-E7D6-E763129FF224}" dt="2026-01-14T02:26:29.480" v="7" actId="20577"/>
          <ac:spMkLst>
            <pc:docMk/>
            <pc:sldMk cId="2143509530" sldId="2147472455"/>
            <ac:spMk id="2" creationId="{2307DBDE-42B6-1AC3-BD25-C992D0A8FA7F}"/>
          </ac:spMkLst>
        </pc:spChg>
      </pc:sldChg>
    </pc:docChg>
  </pc:docChgLst>
  <pc:docChgLst>
    <pc:chgData name="Nikita Chandrasing" userId="S::nchandr3@gmu.edu::a6614213-6536-4d81-9686-55df5591b5b2" providerId="AD" clId="Web-{CC2CAB0E-E64C-CB11-48E0-DA0DF8A1FD46}"/>
    <pc:docChg chg="delSld">
      <pc:chgData name="Nikita Chandrasing" userId="S::nchandr3@gmu.edu::a6614213-6536-4d81-9686-55df5591b5b2" providerId="AD" clId="Web-{CC2CAB0E-E64C-CB11-48E0-DA0DF8A1FD46}" dt="2026-01-15T05:33:35.950" v="0"/>
      <pc:docMkLst>
        <pc:docMk/>
      </pc:docMkLst>
    </pc:docChg>
  </pc:docChgLst>
  <pc:docChgLst>
    <pc:chgData name="Khaled Azmi Alkurd" userId="S::kalkurd@gmu.edu::d8a8490c-4d79-451d-b1ff-270e6eecfde3" providerId="AD" clId="Web-{6ACD6D32-AC1C-761B-5F9A-79898F79A8DE}"/>
    <pc:docChg chg="delSld modSld">
      <pc:chgData name="Khaled Azmi Alkurd" userId="S::kalkurd@gmu.edu::d8a8490c-4d79-451d-b1ff-270e6eecfde3" providerId="AD" clId="Web-{6ACD6D32-AC1C-761B-5F9A-79898F79A8DE}" dt="2026-01-14T05:17:07.693" v="188" actId="1076"/>
      <pc:docMkLst>
        <pc:docMk/>
      </pc:docMkLst>
      <pc:sldChg chg="addSp delSp modSp">
        <pc:chgData name="Khaled Azmi Alkurd" userId="S::kalkurd@gmu.edu::d8a8490c-4d79-451d-b1ff-270e6eecfde3" providerId="AD" clId="Web-{6ACD6D32-AC1C-761B-5F9A-79898F79A8DE}" dt="2026-01-14T05:17:07.693" v="188" actId="1076"/>
        <pc:sldMkLst>
          <pc:docMk/>
          <pc:sldMk cId="1561532402" sldId="2147472447"/>
        </pc:sldMkLst>
        <pc:spChg chg="add mod ord">
          <ac:chgData name="Khaled Azmi Alkurd" userId="S::kalkurd@gmu.edu::d8a8490c-4d79-451d-b1ff-270e6eecfde3" providerId="AD" clId="Web-{6ACD6D32-AC1C-761B-5F9A-79898F79A8DE}" dt="2026-01-14T05:16:41.411" v="183"/>
          <ac:spMkLst>
            <pc:docMk/>
            <pc:sldMk cId="1561532402" sldId="2147472447"/>
            <ac:spMk id="4" creationId="{C8E291E0-0239-2090-1E90-66EB8B1A7862}"/>
          </ac:spMkLst>
        </pc:spChg>
        <pc:spChg chg="mod">
          <ac:chgData name="Khaled Azmi Alkurd" userId="S::kalkurd@gmu.edu::d8a8490c-4d79-451d-b1ff-270e6eecfde3" providerId="AD" clId="Web-{6ACD6D32-AC1C-761B-5F9A-79898F79A8DE}" dt="2026-01-14T05:02:27.373" v="89" actId="14100"/>
          <ac:spMkLst>
            <pc:docMk/>
            <pc:sldMk cId="1561532402" sldId="2147472447"/>
            <ac:spMk id="12" creationId="{B388AEFB-AC0F-DB15-1223-9AC9087791D5}"/>
          </ac:spMkLst>
        </pc:spChg>
        <pc:spChg chg="mod">
          <ac:chgData name="Khaled Azmi Alkurd" userId="S::kalkurd@gmu.edu::d8a8490c-4d79-451d-b1ff-270e6eecfde3" providerId="AD" clId="Web-{6ACD6D32-AC1C-761B-5F9A-79898F79A8DE}" dt="2026-01-14T04:54:29.929" v="38" actId="20577"/>
          <ac:spMkLst>
            <pc:docMk/>
            <pc:sldMk cId="1561532402" sldId="2147472447"/>
            <ac:spMk id="21" creationId="{6E8ED707-1F75-C522-B9D2-2B531C27E3E9}"/>
          </ac:spMkLst>
        </pc:spChg>
        <pc:spChg chg="topLvl">
          <ac:chgData name="Khaled Azmi Alkurd" userId="S::kalkurd@gmu.edu::d8a8490c-4d79-451d-b1ff-270e6eecfde3" providerId="AD" clId="Web-{6ACD6D32-AC1C-761B-5F9A-79898F79A8DE}" dt="2026-01-14T05:11:51.930" v="122"/>
          <ac:spMkLst>
            <pc:docMk/>
            <pc:sldMk cId="1561532402" sldId="2147472447"/>
            <ac:spMk id="25" creationId="{90362B15-DB14-6558-5DDA-3292D5BD7A3A}"/>
          </ac:spMkLst>
        </pc:spChg>
        <pc:spChg chg="mod topLvl">
          <ac:chgData name="Khaled Azmi Alkurd" userId="S::kalkurd@gmu.edu::d8a8490c-4d79-451d-b1ff-270e6eecfde3" providerId="AD" clId="Web-{6ACD6D32-AC1C-761B-5F9A-79898F79A8DE}" dt="2026-01-14T05:11:51.930" v="122"/>
          <ac:spMkLst>
            <pc:docMk/>
            <pc:sldMk cId="1561532402" sldId="2147472447"/>
            <ac:spMk id="27" creationId="{86BD19CC-45F1-554C-FE4B-28A560AFE7F2}"/>
          </ac:spMkLst>
        </pc:spChg>
        <pc:spChg chg="mod topLvl">
          <ac:chgData name="Khaled Azmi Alkurd" userId="S::kalkurd@gmu.edu::d8a8490c-4d79-451d-b1ff-270e6eecfde3" providerId="AD" clId="Web-{6ACD6D32-AC1C-761B-5F9A-79898F79A8DE}" dt="2026-01-14T05:11:51.930" v="122"/>
          <ac:spMkLst>
            <pc:docMk/>
            <pc:sldMk cId="1561532402" sldId="2147472447"/>
            <ac:spMk id="28" creationId="{25E6778B-60F8-A977-EC32-9AD220982204}"/>
          </ac:spMkLst>
        </pc:spChg>
        <pc:spChg chg="mod">
          <ac:chgData name="Khaled Azmi Alkurd" userId="S::kalkurd@gmu.edu::d8a8490c-4d79-451d-b1ff-270e6eecfde3" providerId="AD" clId="Web-{6ACD6D32-AC1C-761B-5F9A-79898F79A8DE}" dt="2026-01-14T05:17:07.693" v="188" actId="1076"/>
          <ac:spMkLst>
            <pc:docMk/>
            <pc:sldMk cId="1561532402" sldId="2147472447"/>
            <ac:spMk id="33" creationId="{88A5AC07-3083-55D8-8415-2E9E28135110}"/>
          </ac:spMkLst>
        </pc:spChg>
        <pc:grpChg chg="add mod topLvl">
          <ac:chgData name="Khaled Azmi Alkurd" userId="S::kalkurd@gmu.edu::d8a8490c-4d79-451d-b1ff-270e6eecfde3" providerId="AD" clId="Web-{6ACD6D32-AC1C-761B-5F9A-79898F79A8DE}" dt="2026-01-14T05:11:51.930" v="122"/>
          <ac:grpSpMkLst>
            <pc:docMk/>
            <pc:sldMk cId="1561532402" sldId="2147472447"/>
            <ac:grpSpMk id="7" creationId="{37D0B422-1035-60FA-BEDA-CBA7D53DC693}"/>
          </ac:grpSpMkLst>
        </pc:grpChg>
        <pc:graphicFrameChg chg="mod modGraphic">
          <ac:chgData name="Khaled Azmi Alkurd" userId="S::kalkurd@gmu.edu::d8a8490c-4d79-451d-b1ff-270e6eecfde3" providerId="AD" clId="Web-{6ACD6D32-AC1C-761B-5F9A-79898F79A8DE}" dt="2026-01-14T04:49:42.754" v="16"/>
          <ac:graphicFrameMkLst>
            <pc:docMk/>
            <pc:sldMk cId="1561532402" sldId="2147472447"/>
            <ac:graphicFrameMk id="10" creationId="{5863B173-8AE8-44A4-FEB6-5B47657AB6D9}"/>
          </ac:graphicFrameMkLst>
        </pc:graphicFrameChg>
        <pc:cxnChg chg="mod topLvl">
          <ac:chgData name="Khaled Azmi Alkurd" userId="S::kalkurd@gmu.edu::d8a8490c-4d79-451d-b1ff-270e6eecfde3" providerId="AD" clId="Web-{6ACD6D32-AC1C-761B-5F9A-79898F79A8DE}" dt="2026-01-14T05:11:51.930" v="122"/>
          <ac:cxnSpMkLst>
            <pc:docMk/>
            <pc:sldMk cId="1561532402" sldId="2147472447"/>
            <ac:cxnSpMk id="32" creationId="{09ACE60B-B227-DF92-FBEF-1639BC016F3A}"/>
          </ac:cxnSpMkLst>
        </pc:cxnChg>
      </pc:sldChg>
      <pc:sldChg chg="addSp modSp">
        <pc:chgData name="Khaled Azmi Alkurd" userId="S::kalkurd@gmu.edu::d8a8490c-4d79-451d-b1ff-270e6eecfde3" providerId="AD" clId="Web-{6ACD6D32-AC1C-761B-5F9A-79898F79A8DE}" dt="2026-01-14T05:16:13.129" v="182" actId="1076"/>
        <pc:sldMkLst>
          <pc:docMk/>
          <pc:sldMk cId="735017481" sldId="2147472448"/>
        </pc:sldMkLst>
        <pc:spChg chg="mod">
          <ac:chgData name="Khaled Azmi Alkurd" userId="S::kalkurd@gmu.edu::d8a8490c-4d79-451d-b1ff-270e6eecfde3" providerId="AD" clId="Web-{6ACD6D32-AC1C-761B-5F9A-79898F79A8DE}" dt="2026-01-14T05:10:04.642" v="120" actId="20577"/>
          <ac:spMkLst>
            <pc:docMk/>
            <pc:sldMk cId="735017481" sldId="2147472448"/>
            <ac:spMk id="7" creationId="{2847D536-25ED-B1BC-A95C-232A93F2372E}"/>
          </ac:spMkLst>
        </pc:spChg>
        <pc:spChg chg="mod">
          <ac:chgData name="Khaled Azmi Alkurd" userId="S::kalkurd@gmu.edu::d8a8490c-4d79-451d-b1ff-270e6eecfde3" providerId="AD" clId="Web-{6ACD6D32-AC1C-761B-5F9A-79898F79A8DE}" dt="2026-01-14T05:15:44.862" v="177"/>
          <ac:spMkLst>
            <pc:docMk/>
            <pc:sldMk cId="735017481" sldId="2147472448"/>
            <ac:spMk id="10" creationId="{A443CEF2-05EE-DB0A-1D89-11258BA05ADE}"/>
          </ac:spMkLst>
        </pc:spChg>
        <pc:spChg chg="mod">
          <ac:chgData name="Khaled Azmi Alkurd" userId="S::kalkurd@gmu.edu::d8a8490c-4d79-451d-b1ff-270e6eecfde3" providerId="AD" clId="Web-{6ACD6D32-AC1C-761B-5F9A-79898F79A8DE}" dt="2026-01-14T05:09:10.185" v="117" actId="20577"/>
          <ac:spMkLst>
            <pc:docMk/>
            <pc:sldMk cId="735017481" sldId="2147472448"/>
            <ac:spMk id="12" creationId="{9265D1A0-45B5-E34A-D381-94FEA6590F3C}"/>
          </ac:spMkLst>
        </pc:spChg>
        <pc:spChg chg="mod">
          <ac:chgData name="Khaled Azmi Alkurd" userId="S::kalkurd@gmu.edu::d8a8490c-4d79-451d-b1ff-270e6eecfde3" providerId="AD" clId="Web-{6ACD6D32-AC1C-761B-5F9A-79898F79A8DE}" dt="2026-01-14T05:16:13.129" v="182" actId="1076"/>
          <ac:spMkLst>
            <pc:docMk/>
            <pc:sldMk cId="735017481" sldId="2147472448"/>
            <ac:spMk id="13" creationId="{88ACDB9A-3624-CC14-8723-F829609DD6A3}"/>
          </ac:spMkLst>
        </pc:spChg>
        <pc:grpChg chg="add mod">
          <ac:chgData name="Khaled Azmi Alkurd" userId="S::kalkurd@gmu.edu::d8a8490c-4d79-451d-b1ff-270e6eecfde3" providerId="AD" clId="Web-{6ACD6D32-AC1C-761B-5F9A-79898F79A8DE}" dt="2026-01-14T05:13:24.980" v="139" actId="14100"/>
          <ac:grpSpMkLst>
            <pc:docMk/>
            <pc:sldMk cId="735017481" sldId="2147472448"/>
            <ac:grpSpMk id="16" creationId="{A7AFA8DE-FCA4-978C-4858-D949E93CAD50}"/>
          </ac:grpSpMkLst>
        </pc:grpChg>
        <pc:graphicFrameChg chg="mod modGraphic">
          <ac:chgData name="Khaled Azmi Alkurd" userId="S::kalkurd@gmu.edu::d8a8490c-4d79-451d-b1ff-270e6eecfde3" providerId="AD" clId="Web-{6ACD6D32-AC1C-761B-5F9A-79898F79A8DE}" dt="2026-01-14T05:09:36.828" v="119"/>
          <ac:graphicFrameMkLst>
            <pc:docMk/>
            <pc:sldMk cId="735017481" sldId="2147472448"/>
            <ac:graphicFrameMk id="11" creationId="{D2DD68DC-0955-37FA-7DEF-C581C45D173A}"/>
          </ac:graphicFrameMkLst>
        </pc:graphicFrameChg>
        <pc:cxnChg chg="add mod">
          <ac:chgData name="Khaled Azmi Alkurd" userId="S::kalkurd@gmu.edu::d8a8490c-4d79-451d-b1ff-270e6eecfde3" providerId="AD" clId="Web-{6ACD6D32-AC1C-761B-5F9A-79898F79A8DE}" dt="2026-01-14T05:14:31.624" v="171"/>
          <ac:cxnSpMkLst>
            <pc:docMk/>
            <pc:sldMk cId="735017481" sldId="2147472448"/>
            <ac:cxnSpMk id="5" creationId="{A96E7C91-FF4E-0277-B116-2CAEE8E091E7}"/>
          </ac:cxnSpMkLst>
        </pc:cxnChg>
      </pc:sldChg>
    </pc:docChg>
  </pc:docChgLst>
  <pc:docChgLst>
    <pc:chgData name="Lakshmi Pranavi Doodala" userId="S::ldoodala@gmu.edu::e83b3efd-028e-479f-903f-2182a0b2285c" providerId="AD" clId="Web-{5852D1F1-BEC6-6D94-304E-DA23CFA03201}"/>
    <pc:docChg chg="addSld delSld modSld sldOrd">
      <pc:chgData name="Lakshmi Pranavi Doodala" userId="S::ldoodala@gmu.edu::e83b3efd-028e-479f-903f-2182a0b2285c" providerId="AD" clId="Web-{5852D1F1-BEC6-6D94-304E-DA23CFA03201}" dt="2026-01-15T19:18:19.972" v="1540"/>
      <pc:docMkLst>
        <pc:docMk/>
      </pc:docMkLst>
      <pc:sldChg chg="modNotes">
        <pc:chgData name="Lakshmi Pranavi Doodala" userId="S::ldoodala@gmu.edu::e83b3efd-028e-479f-903f-2182a0b2285c" providerId="AD" clId="Web-{5852D1F1-BEC6-6D94-304E-DA23CFA03201}" dt="2026-01-15T18:58:57.108" v="927"/>
        <pc:sldMkLst>
          <pc:docMk/>
          <pc:sldMk cId="2579588639" sldId="293"/>
        </pc:sldMkLst>
      </pc:sldChg>
      <pc:sldChg chg="addSp delSp modSp add ord modNotes">
        <pc:chgData name="Lakshmi Pranavi Doodala" userId="S::ldoodala@gmu.edu::e83b3efd-028e-479f-903f-2182a0b2285c" providerId="AD" clId="Web-{5852D1F1-BEC6-6D94-304E-DA23CFA03201}" dt="2026-01-15T18:52:20.014" v="915"/>
        <pc:sldMkLst>
          <pc:docMk/>
          <pc:sldMk cId="3748027731" sldId="2147470935"/>
        </pc:sldMkLst>
        <pc:spChg chg="mod">
          <ac:chgData name="Lakshmi Pranavi Doodala" userId="S::ldoodala@gmu.edu::e83b3efd-028e-479f-903f-2182a0b2285c" providerId="AD" clId="Web-{5852D1F1-BEC6-6D94-304E-DA23CFA03201}" dt="2026-01-15T18:08:27.816" v="712" actId="1076"/>
          <ac:spMkLst>
            <pc:docMk/>
            <pc:sldMk cId="3748027731" sldId="2147470935"/>
            <ac:spMk id="2" creationId="{BE579D8B-4611-B928-953C-F7CC010CEB67}"/>
          </ac:spMkLst>
        </pc:spChg>
        <pc:spChg chg="mod">
          <ac:chgData name="Lakshmi Pranavi Doodala" userId="S::ldoodala@gmu.edu::e83b3efd-028e-479f-903f-2182a0b2285c" providerId="AD" clId="Web-{5852D1F1-BEC6-6D94-304E-DA23CFA03201}" dt="2026-01-15T17:47:51.029" v="243" actId="20577"/>
          <ac:spMkLst>
            <pc:docMk/>
            <pc:sldMk cId="3748027731" sldId="2147470935"/>
            <ac:spMk id="3" creationId="{9FA87685-B87C-6941-0844-FC0F401FF6D5}"/>
          </ac:spMkLst>
        </pc:spChg>
        <pc:spChg chg="mod">
          <ac:chgData name="Lakshmi Pranavi Doodala" userId="S::ldoodala@gmu.edu::e83b3efd-028e-479f-903f-2182a0b2285c" providerId="AD" clId="Web-{5852D1F1-BEC6-6D94-304E-DA23CFA03201}" dt="2026-01-15T17:47:10.248" v="224" actId="1076"/>
          <ac:spMkLst>
            <pc:docMk/>
            <pc:sldMk cId="3748027731" sldId="2147470935"/>
            <ac:spMk id="4" creationId="{F8E7B906-0D62-1767-9DAC-DD2B4A4E792C}"/>
          </ac:spMkLst>
        </pc:spChg>
        <pc:spChg chg="add mod">
          <ac:chgData name="Lakshmi Pranavi Doodala" userId="S::ldoodala@gmu.edu::e83b3efd-028e-479f-903f-2182a0b2285c" providerId="AD" clId="Web-{5852D1F1-BEC6-6D94-304E-DA23CFA03201}" dt="2026-01-15T17:59:35.861" v="685" actId="20577"/>
          <ac:spMkLst>
            <pc:docMk/>
            <pc:sldMk cId="3748027731" sldId="2147470935"/>
            <ac:spMk id="6" creationId="{8807AAD2-0AAA-AED6-22ED-922E0680849D}"/>
          </ac:spMkLst>
        </pc:spChg>
        <pc:spChg chg="mod">
          <ac:chgData name="Lakshmi Pranavi Doodala" userId="S::ldoodala@gmu.edu::e83b3efd-028e-479f-903f-2182a0b2285c" providerId="AD" clId="Web-{5852D1F1-BEC6-6D94-304E-DA23CFA03201}" dt="2026-01-15T17:47:10.279" v="225" actId="1076"/>
          <ac:spMkLst>
            <pc:docMk/>
            <pc:sldMk cId="3748027731" sldId="2147470935"/>
            <ac:spMk id="7" creationId="{7E1DD2C1-0853-E427-B656-C8FDB4DA7F0A}"/>
          </ac:spMkLst>
        </pc:spChg>
        <pc:spChg chg="add mod">
          <ac:chgData name="Lakshmi Pranavi Doodala" userId="S::ldoodala@gmu.edu::e83b3efd-028e-479f-903f-2182a0b2285c" providerId="AD" clId="Web-{5852D1F1-BEC6-6D94-304E-DA23CFA03201}" dt="2026-01-15T17:47:10.373" v="228" actId="1076"/>
          <ac:spMkLst>
            <pc:docMk/>
            <pc:sldMk cId="3748027731" sldId="2147470935"/>
            <ac:spMk id="8" creationId="{DE62881C-8F05-FEAA-60CE-47A91475D658}"/>
          </ac:spMkLst>
        </pc:spChg>
        <pc:spChg chg="mod">
          <ac:chgData name="Lakshmi Pranavi Doodala" userId="S::ldoodala@gmu.edu::e83b3efd-028e-479f-903f-2182a0b2285c" providerId="AD" clId="Web-{5852D1F1-BEC6-6D94-304E-DA23CFA03201}" dt="2026-01-15T17:47:10.310" v="226" actId="1076"/>
          <ac:spMkLst>
            <pc:docMk/>
            <pc:sldMk cId="3748027731" sldId="2147470935"/>
            <ac:spMk id="9" creationId="{BF4DF09B-DF25-6BCE-A55D-9E6A3EA5277F}"/>
          </ac:spMkLst>
        </pc:spChg>
        <pc:spChg chg="mod">
          <ac:chgData name="Lakshmi Pranavi Doodala" userId="S::ldoodala@gmu.edu::e83b3efd-028e-479f-903f-2182a0b2285c" providerId="AD" clId="Web-{5852D1F1-BEC6-6D94-304E-DA23CFA03201}" dt="2026-01-15T17:47:10.341" v="227" actId="1076"/>
          <ac:spMkLst>
            <pc:docMk/>
            <pc:sldMk cId="3748027731" sldId="2147470935"/>
            <ac:spMk id="10" creationId="{0C0193DA-89A6-9DA5-87B0-43F16C140617}"/>
          </ac:spMkLst>
        </pc:spChg>
        <pc:spChg chg="add mod">
          <ac:chgData name="Lakshmi Pranavi Doodala" userId="S::ldoodala@gmu.edu::e83b3efd-028e-479f-903f-2182a0b2285c" providerId="AD" clId="Web-{5852D1F1-BEC6-6D94-304E-DA23CFA03201}" dt="2026-01-15T17:47:10.404" v="229" actId="1076"/>
          <ac:spMkLst>
            <pc:docMk/>
            <pc:sldMk cId="3748027731" sldId="2147470935"/>
            <ac:spMk id="11" creationId="{7E499687-C1ED-C83C-9A87-4654E4EA3C26}"/>
          </ac:spMkLst>
        </pc:spChg>
        <pc:spChg chg="add">
          <ac:chgData name="Lakshmi Pranavi Doodala" userId="S::ldoodala@gmu.edu::e83b3efd-028e-479f-903f-2182a0b2285c" providerId="AD" clId="Web-{5852D1F1-BEC6-6D94-304E-DA23CFA03201}" dt="2026-01-15T17:47:31.716" v="231"/>
          <ac:spMkLst>
            <pc:docMk/>
            <pc:sldMk cId="3748027731" sldId="2147470935"/>
            <ac:spMk id="17" creationId="{92456066-C725-3345-BE5A-EB42187EB570}"/>
          </ac:spMkLst>
        </pc:spChg>
        <pc:spChg chg="add del mod">
          <ac:chgData name="Lakshmi Pranavi Doodala" userId="S::ldoodala@gmu.edu::e83b3efd-028e-479f-903f-2182a0b2285c" providerId="AD" clId="Web-{5852D1F1-BEC6-6D94-304E-DA23CFA03201}" dt="2026-01-15T18:41:07.479" v="889" actId="20577"/>
          <ac:spMkLst>
            <pc:docMk/>
            <pc:sldMk cId="3748027731" sldId="2147470935"/>
            <ac:spMk id="22" creationId="{F81DCD60-FEBA-834A-3C6D-1EC985A3419A}"/>
          </ac:spMkLst>
        </pc:spChg>
        <pc:spChg chg="mod">
          <ac:chgData name="Lakshmi Pranavi Doodala" userId="S::ldoodala@gmu.edu::e83b3efd-028e-479f-903f-2182a0b2285c" providerId="AD" clId="Web-{5852D1F1-BEC6-6D94-304E-DA23CFA03201}" dt="2026-01-15T18:08:46.113" v="716" actId="1076"/>
          <ac:spMkLst>
            <pc:docMk/>
            <pc:sldMk cId="3748027731" sldId="2147470935"/>
            <ac:spMk id="23" creationId="{0C6CABE1-B7B5-1486-E1F5-20E0C5A7D1A6}"/>
          </ac:spMkLst>
        </pc:spChg>
        <pc:picChg chg="add mod">
          <ac:chgData name="Lakshmi Pranavi Doodala" userId="S::ldoodala@gmu.edu::e83b3efd-028e-479f-903f-2182a0b2285c" providerId="AD" clId="Web-{5852D1F1-BEC6-6D94-304E-DA23CFA03201}" dt="2026-01-15T17:47:10.498" v="230" actId="1076"/>
          <ac:picMkLst>
            <pc:docMk/>
            <pc:sldMk cId="3748027731" sldId="2147470935"/>
            <ac:picMk id="14" creationId="{22530A8B-491A-D2AC-1837-C4EE56AA8514}"/>
          </ac:picMkLst>
        </pc:picChg>
      </pc:sldChg>
      <pc:sldChg chg="delSp modSp modNotes">
        <pc:chgData name="Lakshmi Pranavi Doodala" userId="S::ldoodala@gmu.edu::e83b3efd-028e-479f-903f-2182a0b2285c" providerId="AD" clId="Web-{5852D1F1-BEC6-6D94-304E-DA23CFA03201}" dt="2026-01-15T18:59:02.733" v="932"/>
        <pc:sldMkLst>
          <pc:docMk/>
          <pc:sldMk cId="3572240398" sldId="2147470985"/>
        </pc:sldMkLst>
        <pc:spChg chg="mod">
          <ac:chgData name="Lakshmi Pranavi Doodala" userId="S::ldoodala@gmu.edu::e83b3efd-028e-479f-903f-2182a0b2285c" providerId="AD" clId="Web-{5852D1F1-BEC6-6D94-304E-DA23CFA03201}" dt="2026-01-15T18:09:38.706" v="724" actId="1076"/>
          <ac:spMkLst>
            <pc:docMk/>
            <pc:sldMk cId="3572240398" sldId="2147470985"/>
            <ac:spMk id="6" creationId="{BC7CD9CA-AC3B-836C-3F58-5EECAEB27498}"/>
          </ac:spMkLst>
        </pc:spChg>
        <pc:spChg chg="mod">
          <ac:chgData name="Lakshmi Pranavi Doodala" userId="S::ldoodala@gmu.edu::e83b3efd-028e-479f-903f-2182a0b2285c" providerId="AD" clId="Web-{5852D1F1-BEC6-6D94-304E-DA23CFA03201}" dt="2026-01-15T18:16:01.646" v="803"/>
          <ac:spMkLst>
            <pc:docMk/>
            <pc:sldMk cId="3572240398" sldId="2147470985"/>
            <ac:spMk id="21" creationId="{41FC1D2C-CB05-9CAA-61C6-5F6E91F79468}"/>
          </ac:spMkLst>
        </pc:spChg>
        <pc:spChg chg="mod">
          <ac:chgData name="Lakshmi Pranavi Doodala" userId="S::ldoodala@gmu.edu::e83b3efd-028e-479f-903f-2182a0b2285c" providerId="AD" clId="Web-{5852D1F1-BEC6-6D94-304E-DA23CFA03201}" dt="2026-01-15T18:12:47.723" v="761" actId="1076"/>
          <ac:spMkLst>
            <pc:docMk/>
            <pc:sldMk cId="3572240398" sldId="2147470985"/>
            <ac:spMk id="55" creationId="{DE4F4F7A-D2BF-01DE-C10F-6DAB3AAE9F5F}"/>
          </ac:spMkLst>
        </pc:spChg>
        <pc:spChg chg="mod">
          <ac:chgData name="Lakshmi Pranavi Doodala" userId="S::ldoodala@gmu.edu::e83b3efd-028e-479f-903f-2182a0b2285c" providerId="AD" clId="Web-{5852D1F1-BEC6-6D94-304E-DA23CFA03201}" dt="2026-01-15T18:15:32.740" v="795" actId="14100"/>
          <ac:spMkLst>
            <pc:docMk/>
            <pc:sldMk cId="3572240398" sldId="2147470985"/>
            <ac:spMk id="63" creationId="{11BF6244-FC85-97F4-F4EC-0D87D6FC36A2}"/>
          </ac:spMkLst>
        </pc:spChg>
        <pc:spChg chg="mod">
          <ac:chgData name="Lakshmi Pranavi Doodala" userId="S::ldoodala@gmu.edu::e83b3efd-028e-479f-903f-2182a0b2285c" providerId="AD" clId="Web-{5852D1F1-BEC6-6D94-304E-DA23CFA03201}" dt="2026-01-15T18:16:19.506" v="804"/>
          <ac:spMkLst>
            <pc:docMk/>
            <pc:sldMk cId="3572240398" sldId="2147470985"/>
            <ac:spMk id="320" creationId="{92174D91-76B0-EDC1-9A3F-F1700F10E936}"/>
          </ac:spMkLst>
        </pc:spChg>
        <pc:spChg chg="mod">
          <ac:chgData name="Lakshmi Pranavi Doodala" userId="S::ldoodala@gmu.edu::e83b3efd-028e-479f-903f-2182a0b2285c" providerId="AD" clId="Web-{5852D1F1-BEC6-6D94-304E-DA23CFA03201}" dt="2026-01-15T18:18:05.897" v="813" actId="1076"/>
          <ac:spMkLst>
            <pc:docMk/>
            <pc:sldMk cId="3572240398" sldId="2147470985"/>
            <ac:spMk id="321" creationId="{E45946AE-FC93-C742-E87C-6720DFA6D703}"/>
          </ac:spMkLst>
        </pc:spChg>
        <pc:spChg chg="mod">
          <ac:chgData name="Lakshmi Pranavi Doodala" userId="S::ldoodala@gmu.edu::e83b3efd-028e-479f-903f-2182a0b2285c" providerId="AD" clId="Web-{5852D1F1-BEC6-6D94-304E-DA23CFA03201}" dt="2026-01-15T18:16:19.553" v="805"/>
          <ac:spMkLst>
            <pc:docMk/>
            <pc:sldMk cId="3572240398" sldId="2147470985"/>
            <ac:spMk id="322" creationId="{0955C43A-9049-0B39-46A1-BBE3095A020E}"/>
          </ac:spMkLst>
        </pc:spChg>
        <pc:spChg chg="mod">
          <ac:chgData name="Lakshmi Pranavi Doodala" userId="S::ldoodala@gmu.edu::e83b3efd-028e-479f-903f-2182a0b2285c" providerId="AD" clId="Web-{5852D1F1-BEC6-6D94-304E-DA23CFA03201}" dt="2026-01-15T18:15:44.318" v="799"/>
          <ac:spMkLst>
            <pc:docMk/>
            <pc:sldMk cId="3572240398" sldId="2147470985"/>
            <ac:spMk id="335" creationId="{488A0927-7975-A29C-BFAC-EB20DFA6F6E8}"/>
          </ac:spMkLst>
        </pc:spChg>
        <pc:spChg chg="mod">
          <ac:chgData name="Lakshmi Pranavi Doodala" userId="S::ldoodala@gmu.edu::e83b3efd-028e-479f-903f-2182a0b2285c" providerId="AD" clId="Web-{5852D1F1-BEC6-6D94-304E-DA23CFA03201}" dt="2026-01-15T18:14:52.787" v="790"/>
          <ac:spMkLst>
            <pc:docMk/>
            <pc:sldMk cId="3572240398" sldId="2147470985"/>
            <ac:spMk id="336" creationId="{27BB8356-4377-E23A-57A9-5480FCF93D3F}"/>
          </ac:spMkLst>
        </pc:spChg>
        <pc:spChg chg="mod">
          <ac:chgData name="Lakshmi Pranavi Doodala" userId="S::ldoodala@gmu.edu::e83b3efd-028e-479f-903f-2182a0b2285c" providerId="AD" clId="Web-{5852D1F1-BEC6-6D94-304E-DA23CFA03201}" dt="2026-01-15T18:15:54.818" v="801" actId="1076"/>
          <ac:spMkLst>
            <pc:docMk/>
            <pc:sldMk cId="3572240398" sldId="2147470985"/>
            <ac:spMk id="337" creationId="{55A8903B-C365-DB64-6426-2DBCE38E7F7E}"/>
          </ac:spMkLst>
        </pc:spChg>
        <pc:spChg chg="mod">
          <ac:chgData name="Lakshmi Pranavi Doodala" userId="S::ldoodala@gmu.edu::e83b3efd-028e-479f-903f-2182a0b2285c" providerId="AD" clId="Web-{5852D1F1-BEC6-6D94-304E-DA23CFA03201}" dt="2026-01-15T18:14:52.834" v="791"/>
          <ac:spMkLst>
            <pc:docMk/>
            <pc:sldMk cId="3572240398" sldId="2147470985"/>
            <ac:spMk id="338" creationId="{62CF2DC3-4DEC-23FF-AF6B-D0BB145DFA79}"/>
          </ac:spMkLst>
        </pc:spChg>
        <pc:spChg chg="mod">
          <ac:chgData name="Lakshmi Pranavi Doodala" userId="S::ldoodala@gmu.edu::e83b3efd-028e-479f-903f-2182a0b2285c" providerId="AD" clId="Web-{5852D1F1-BEC6-6D94-304E-DA23CFA03201}" dt="2026-01-15T18:16:01.584" v="802"/>
          <ac:spMkLst>
            <pc:docMk/>
            <pc:sldMk cId="3572240398" sldId="2147470985"/>
            <ac:spMk id="340" creationId="{EB58CB77-2141-ADC1-21E4-CE34C6C550BA}"/>
          </ac:spMkLst>
        </pc:spChg>
        <pc:picChg chg="mod modCrop">
          <ac:chgData name="Lakshmi Pranavi Doodala" userId="S::ldoodala@gmu.edu::e83b3efd-028e-479f-903f-2182a0b2285c" providerId="AD" clId="Web-{5852D1F1-BEC6-6D94-304E-DA23CFA03201}" dt="2026-01-15T18:13:47.802" v="775" actId="1076"/>
          <ac:picMkLst>
            <pc:docMk/>
            <pc:sldMk cId="3572240398" sldId="2147470985"/>
            <ac:picMk id="2" creationId="{99C0BDEF-BDF9-1F02-BDFE-7486165D8E64}"/>
          </ac:picMkLst>
        </pc:picChg>
        <pc:picChg chg="mod">
          <ac:chgData name="Lakshmi Pranavi Doodala" userId="S::ldoodala@gmu.edu::e83b3efd-028e-479f-903f-2182a0b2285c" providerId="AD" clId="Web-{5852D1F1-BEC6-6D94-304E-DA23CFA03201}" dt="2026-01-15T18:14:04.177" v="779" actId="1076"/>
          <ac:picMkLst>
            <pc:docMk/>
            <pc:sldMk cId="3572240398" sldId="2147470985"/>
            <ac:picMk id="3" creationId="{D3364457-BE39-9237-13D5-7B01062F2FD2}"/>
          </ac:picMkLst>
        </pc:picChg>
        <pc:picChg chg="mod">
          <ac:chgData name="Lakshmi Pranavi Doodala" userId="S::ldoodala@gmu.edu::e83b3efd-028e-479f-903f-2182a0b2285c" providerId="AD" clId="Web-{5852D1F1-BEC6-6D94-304E-DA23CFA03201}" dt="2026-01-15T18:10:10.581" v="732" actId="14100"/>
          <ac:picMkLst>
            <pc:docMk/>
            <pc:sldMk cId="3572240398" sldId="2147470985"/>
            <ac:picMk id="4" creationId="{310C9F2A-4E6E-0F6C-F5DB-7FB43B4C619A}"/>
          </ac:picMkLst>
        </pc:picChg>
        <pc:picChg chg="mod modCrop">
          <ac:chgData name="Lakshmi Pranavi Doodala" userId="S::ldoodala@gmu.edu::e83b3efd-028e-479f-903f-2182a0b2285c" providerId="AD" clId="Web-{5852D1F1-BEC6-6D94-304E-DA23CFA03201}" dt="2026-01-15T18:13:40.114" v="771" actId="1076"/>
          <ac:picMkLst>
            <pc:docMk/>
            <pc:sldMk cId="3572240398" sldId="2147470985"/>
            <ac:picMk id="8" creationId="{8C54B0FD-6B85-B3FA-44EA-9C172FC0FCAE}"/>
          </ac:picMkLst>
        </pc:picChg>
      </pc:sldChg>
      <pc:sldChg chg="modNotes">
        <pc:chgData name="Lakshmi Pranavi Doodala" userId="S::ldoodala@gmu.edu::e83b3efd-028e-479f-903f-2182a0b2285c" providerId="AD" clId="Web-{5852D1F1-BEC6-6D94-304E-DA23CFA03201}" dt="2026-01-15T18:20:07.522" v="821"/>
        <pc:sldMkLst>
          <pc:docMk/>
          <pc:sldMk cId="1069076631" sldId="2147471176"/>
        </pc:sldMkLst>
      </pc:sldChg>
      <pc:sldChg chg="modNotes">
        <pc:chgData name="Lakshmi Pranavi Doodala" userId="S::ldoodala@gmu.edu::e83b3efd-028e-479f-903f-2182a0b2285c" providerId="AD" clId="Web-{5852D1F1-BEC6-6D94-304E-DA23CFA03201}" dt="2026-01-15T18:59:25.905" v="938"/>
        <pc:sldMkLst>
          <pc:docMk/>
          <pc:sldMk cId="3246686144" sldId="2147471452"/>
        </pc:sldMkLst>
      </pc:sldChg>
      <pc:sldChg chg="modNotes">
        <pc:chgData name="Lakshmi Pranavi Doodala" userId="S::ldoodala@gmu.edu::e83b3efd-028e-479f-903f-2182a0b2285c" providerId="AD" clId="Web-{5852D1F1-BEC6-6D94-304E-DA23CFA03201}" dt="2026-01-15T18:59:52.296" v="942"/>
        <pc:sldMkLst>
          <pc:docMk/>
          <pc:sldMk cId="3720278267" sldId="2147471455"/>
        </pc:sldMkLst>
      </pc:sldChg>
      <pc:sldChg chg="modNotes">
        <pc:chgData name="Lakshmi Pranavi Doodala" userId="S::ldoodala@gmu.edu::e83b3efd-028e-479f-903f-2182a0b2285c" providerId="AD" clId="Web-{5852D1F1-BEC6-6D94-304E-DA23CFA03201}" dt="2026-01-15T18:21:38.835" v="831"/>
        <pc:sldMkLst>
          <pc:docMk/>
          <pc:sldMk cId="735017481" sldId="2147472448"/>
        </pc:sldMkLst>
      </pc:sldChg>
      <pc:sldChg chg="modSp modNotes">
        <pc:chgData name="Lakshmi Pranavi Doodala" userId="S::ldoodala@gmu.edu::e83b3efd-028e-479f-903f-2182a0b2285c" providerId="AD" clId="Web-{5852D1F1-BEC6-6D94-304E-DA23CFA03201}" dt="2026-01-15T18:58:11.593" v="919"/>
        <pc:sldMkLst>
          <pc:docMk/>
          <pc:sldMk cId="2143509530" sldId="2147472455"/>
        </pc:sldMkLst>
        <pc:spChg chg="mod">
          <ac:chgData name="Lakshmi Pranavi Doodala" userId="S::ldoodala@gmu.edu::e83b3efd-028e-479f-903f-2182a0b2285c" providerId="AD" clId="Web-{5852D1F1-BEC6-6D94-304E-DA23CFA03201}" dt="2026-01-15T18:40:00.511" v="863" actId="1076"/>
          <ac:spMkLst>
            <pc:docMk/>
            <pc:sldMk cId="2143509530" sldId="2147472455"/>
            <ac:spMk id="3" creationId="{9A2813D2-DB41-398B-C230-CAF012D68CBA}"/>
          </ac:spMkLst>
        </pc:spChg>
        <pc:spChg chg="mod">
          <ac:chgData name="Lakshmi Pranavi Doodala" userId="S::ldoodala@gmu.edu::e83b3efd-028e-479f-903f-2182a0b2285c" providerId="AD" clId="Web-{5852D1F1-BEC6-6D94-304E-DA23CFA03201}" dt="2026-01-15T18:40:06.901" v="871" actId="1076"/>
          <ac:spMkLst>
            <pc:docMk/>
            <pc:sldMk cId="2143509530" sldId="2147472455"/>
            <ac:spMk id="17" creationId="{699D3786-4EF6-3CD4-6FFE-B5A77D00BA78}"/>
          </ac:spMkLst>
        </pc:spChg>
        <pc:spChg chg="mod">
          <ac:chgData name="Lakshmi Pranavi Doodala" userId="S::ldoodala@gmu.edu::e83b3efd-028e-479f-903f-2182a0b2285c" providerId="AD" clId="Web-{5852D1F1-BEC6-6D94-304E-DA23CFA03201}" dt="2026-01-15T18:40:02.136" v="864" actId="1076"/>
          <ac:spMkLst>
            <pc:docMk/>
            <pc:sldMk cId="2143509530" sldId="2147472455"/>
            <ac:spMk id="21" creationId="{FB8DE4AD-BB5A-AA3E-4E8B-4DFE4E9F9BBB}"/>
          </ac:spMkLst>
        </pc:spChg>
      </pc:sldChg>
      <pc:sldChg chg="modNotes">
        <pc:chgData name="Lakshmi Pranavi Doodala" userId="S::ldoodala@gmu.edu::e83b3efd-028e-479f-903f-2182a0b2285c" providerId="AD" clId="Web-{5852D1F1-BEC6-6D94-304E-DA23CFA03201}" dt="2026-01-15T18:04:38.831" v="699"/>
        <pc:sldMkLst>
          <pc:docMk/>
          <pc:sldMk cId="114997428" sldId="2147472457"/>
        </pc:sldMkLst>
      </pc:sldChg>
      <pc:sldChg chg="modNotes">
        <pc:chgData name="Lakshmi Pranavi Doodala" userId="S::ldoodala@gmu.edu::e83b3efd-028e-479f-903f-2182a0b2285c" providerId="AD" clId="Web-{5852D1F1-BEC6-6D94-304E-DA23CFA03201}" dt="2026-01-15T18:17:56.131" v="812"/>
        <pc:sldMkLst>
          <pc:docMk/>
          <pc:sldMk cId="130524519" sldId="2147472458"/>
        </pc:sldMkLst>
      </pc:sldChg>
      <pc:sldChg chg="modNotes">
        <pc:chgData name="Lakshmi Pranavi Doodala" userId="S::ldoodala@gmu.edu::e83b3efd-028e-479f-903f-2182a0b2285c" providerId="AD" clId="Web-{5852D1F1-BEC6-6D94-304E-DA23CFA03201}" dt="2026-01-15T18:20:12.506" v="827"/>
        <pc:sldMkLst>
          <pc:docMk/>
          <pc:sldMk cId="705894713" sldId="2147472460"/>
        </pc:sldMkLst>
      </pc:sldChg>
      <pc:sldChg chg="modSp add mod replId modShow modNotes">
        <pc:chgData name="Lakshmi Pranavi Doodala" userId="S::ldoodala@gmu.edu::e83b3efd-028e-479f-903f-2182a0b2285c" providerId="AD" clId="Web-{5852D1F1-BEC6-6D94-304E-DA23CFA03201}" dt="2026-01-15T19:18:19.972" v="1540"/>
        <pc:sldMkLst>
          <pc:docMk/>
          <pc:sldMk cId="3444418906" sldId="2147472463"/>
        </pc:sldMkLst>
      </pc:sldChg>
    </pc:docChg>
  </pc:docChgLst>
  <pc:docChgLst>
    <pc:chgData name="Khaled Azmi Alkurd" userId="S::kalkurd@gmu.edu::d8a8490c-4d79-451d-b1ff-270e6eecfde3" providerId="AD" clId="Web-{8209074A-7A7C-82B1-4A0A-2455CBB01856}"/>
    <pc:docChg chg="addSld modSld">
      <pc:chgData name="Khaled Azmi Alkurd" userId="S::kalkurd@gmu.edu::d8a8490c-4d79-451d-b1ff-270e6eecfde3" providerId="AD" clId="Web-{8209074A-7A7C-82B1-4A0A-2455CBB01856}" dt="2026-01-13T08:31:27.639" v="686" actId="20577"/>
      <pc:docMkLst>
        <pc:docMk/>
      </pc:docMkLst>
      <pc:sldChg chg="addSp modSp">
        <pc:chgData name="Khaled Azmi Alkurd" userId="S::kalkurd@gmu.edu::d8a8490c-4d79-451d-b1ff-270e6eecfde3" providerId="AD" clId="Web-{8209074A-7A7C-82B1-4A0A-2455CBB01856}" dt="2026-01-13T08:12:04.772" v="647" actId="20577"/>
        <pc:sldMkLst>
          <pc:docMk/>
          <pc:sldMk cId="2579588639" sldId="293"/>
        </pc:sldMkLst>
        <pc:spChg chg="mod">
          <ac:chgData name="Khaled Azmi Alkurd" userId="S::kalkurd@gmu.edu::d8a8490c-4d79-451d-b1ff-270e6eecfde3" providerId="AD" clId="Web-{8209074A-7A7C-82B1-4A0A-2455CBB01856}" dt="2026-01-13T08:09:47.896" v="626" actId="20577"/>
          <ac:spMkLst>
            <pc:docMk/>
            <pc:sldMk cId="2579588639" sldId="293"/>
            <ac:spMk id="2" creationId="{438B2E2C-1C55-0D57-C7FD-6236507D8BB5}"/>
          </ac:spMkLst>
        </pc:spChg>
        <pc:spChg chg="mod">
          <ac:chgData name="Khaled Azmi Alkurd" userId="S::kalkurd@gmu.edu::d8a8490c-4d79-451d-b1ff-270e6eecfde3" providerId="AD" clId="Web-{8209074A-7A7C-82B1-4A0A-2455CBB01856}" dt="2026-01-13T08:08:28.488" v="615" actId="1076"/>
          <ac:spMkLst>
            <pc:docMk/>
            <pc:sldMk cId="2579588639" sldId="293"/>
            <ac:spMk id="3" creationId="{4FA2E13C-38B3-E72E-8D88-7A29223EFF13}"/>
          </ac:spMkLst>
        </pc:spChg>
        <pc:spChg chg="add mod">
          <ac:chgData name="Khaled Azmi Alkurd" userId="S::kalkurd@gmu.edu::d8a8490c-4d79-451d-b1ff-270e6eecfde3" providerId="AD" clId="Web-{8209074A-7A7C-82B1-4A0A-2455CBB01856}" dt="2026-01-13T08:09:09.051" v="619" actId="1076"/>
          <ac:spMkLst>
            <pc:docMk/>
            <pc:sldMk cId="2579588639" sldId="293"/>
            <ac:spMk id="5" creationId="{4D94FD09-7082-DAF6-1C11-FEDAE7453432}"/>
          </ac:spMkLst>
        </pc:spChg>
        <pc:spChg chg="mod">
          <ac:chgData name="Khaled Azmi Alkurd" userId="S::kalkurd@gmu.edu::d8a8490c-4d79-451d-b1ff-270e6eecfde3" providerId="AD" clId="Web-{8209074A-7A7C-82B1-4A0A-2455CBB01856}" dt="2026-01-13T08:12:04.772" v="647" actId="20577"/>
          <ac:spMkLst>
            <pc:docMk/>
            <pc:sldMk cId="2579588639" sldId="293"/>
            <ac:spMk id="187" creationId="{00000000-0000-0000-0000-000000000000}"/>
          </ac:spMkLst>
        </pc:spChg>
      </pc:sldChg>
      <pc:sldChg chg="addSp delSp modSp add">
        <pc:chgData name="Khaled Azmi Alkurd" userId="S::kalkurd@gmu.edu::d8a8490c-4d79-451d-b1ff-270e6eecfde3" providerId="AD" clId="Web-{8209074A-7A7C-82B1-4A0A-2455CBB01856}" dt="2026-01-13T07:51:57.109" v="323" actId="20577"/>
        <pc:sldMkLst>
          <pc:docMk/>
          <pc:sldMk cId="158379550" sldId="2305"/>
        </pc:sldMkLst>
        <pc:spChg chg="mod">
          <ac:chgData name="Khaled Azmi Alkurd" userId="S::kalkurd@gmu.edu::d8a8490c-4d79-451d-b1ff-270e6eecfde3" providerId="AD" clId="Web-{8209074A-7A7C-82B1-4A0A-2455CBB01856}" dt="2026-01-13T07:51:57.109" v="323" actId="20577"/>
          <ac:spMkLst>
            <pc:docMk/>
            <pc:sldMk cId="158379550" sldId="2305"/>
            <ac:spMk id="3" creationId="{CF34A821-33D7-19B7-7819-3A60EBDF9EE9}"/>
          </ac:spMkLst>
        </pc:spChg>
      </pc:sldChg>
      <pc:sldChg chg="addSp delSp modSp">
        <pc:chgData name="Khaled Azmi Alkurd" userId="S::kalkurd@gmu.edu::d8a8490c-4d79-451d-b1ff-270e6eecfde3" providerId="AD" clId="Web-{8209074A-7A7C-82B1-4A0A-2455CBB01856}" dt="2026-01-13T08:13:36.850" v="660" actId="1076"/>
        <pc:sldMkLst>
          <pc:docMk/>
          <pc:sldMk cId="1069076631" sldId="2147471176"/>
        </pc:sldMkLst>
        <pc:spChg chg="mod">
          <ac:chgData name="Khaled Azmi Alkurd" userId="S::kalkurd@gmu.edu::d8a8490c-4d79-451d-b1ff-270e6eecfde3" providerId="AD" clId="Web-{8209074A-7A7C-82B1-4A0A-2455CBB01856}" dt="2026-01-13T07:42:50.357" v="140" actId="20577"/>
          <ac:spMkLst>
            <pc:docMk/>
            <pc:sldMk cId="1069076631" sldId="2147471176"/>
            <ac:spMk id="2" creationId="{31967DD4-5A6B-B1E0-CA40-A08F44BB373F}"/>
          </ac:spMkLst>
        </pc:spChg>
        <pc:spChg chg="mod">
          <ac:chgData name="Khaled Azmi Alkurd" userId="S::kalkurd@gmu.edu::d8a8490c-4d79-451d-b1ff-270e6eecfde3" providerId="AD" clId="Web-{8209074A-7A7C-82B1-4A0A-2455CBB01856}" dt="2026-01-13T08:13:36.647" v="648" actId="1076"/>
          <ac:spMkLst>
            <pc:docMk/>
            <pc:sldMk cId="1069076631" sldId="2147471176"/>
            <ac:spMk id="5" creationId="{72A45991-FE09-63F6-1DD9-092343BE23A5}"/>
          </ac:spMkLst>
        </pc:spChg>
        <pc:spChg chg="add">
          <ac:chgData name="Khaled Azmi Alkurd" userId="S::kalkurd@gmu.edu::d8a8490c-4d79-451d-b1ff-270e6eecfde3" providerId="AD" clId="Web-{8209074A-7A7C-82B1-4A0A-2455CBB01856}" dt="2026-01-13T07:52:00.922" v="324"/>
          <ac:spMkLst>
            <pc:docMk/>
            <pc:sldMk cId="1069076631" sldId="2147471176"/>
            <ac:spMk id="7" creationId="{98E4A34B-109E-A8F2-E22E-0A190A7E39B1}"/>
          </ac:spMkLst>
        </pc:spChg>
        <pc:spChg chg="mod">
          <ac:chgData name="Khaled Azmi Alkurd" userId="S::kalkurd@gmu.edu::d8a8490c-4d79-451d-b1ff-270e6eecfde3" providerId="AD" clId="Web-{8209074A-7A7C-82B1-4A0A-2455CBB01856}" dt="2026-01-13T08:13:36.663" v="649" actId="1076"/>
          <ac:spMkLst>
            <pc:docMk/>
            <pc:sldMk cId="1069076631" sldId="2147471176"/>
            <ac:spMk id="9" creationId="{24023538-CA68-F071-530D-3F703CB6FBFB}"/>
          </ac:spMkLst>
        </pc:spChg>
        <pc:spChg chg="mod">
          <ac:chgData name="Khaled Azmi Alkurd" userId="S::kalkurd@gmu.edu::d8a8490c-4d79-451d-b1ff-270e6eecfde3" providerId="AD" clId="Web-{8209074A-7A7C-82B1-4A0A-2455CBB01856}" dt="2026-01-13T08:13:36.694" v="651" actId="1076"/>
          <ac:spMkLst>
            <pc:docMk/>
            <pc:sldMk cId="1069076631" sldId="2147471176"/>
            <ac:spMk id="11" creationId="{115397CC-F16F-64D3-DFC9-D255CFAD20BB}"/>
          </ac:spMkLst>
        </pc:spChg>
        <pc:spChg chg="mod">
          <ac:chgData name="Khaled Azmi Alkurd" userId="S::kalkurd@gmu.edu::d8a8490c-4d79-451d-b1ff-270e6eecfde3" providerId="AD" clId="Web-{8209074A-7A7C-82B1-4A0A-2455CBB01856}" dt="2026-01-13T08:13:36.725" v="653" actId="1076"/>
          <ac:spMkLst>
            <pc:docMk/>
            <pc:sldMk cId="1069076631" sldId="2147471176"/>
            <ac:spMk id="15" creationId="{1BB29F88-6019-66A5-4668-5EC09C7D0D62}"/>
          </ac:spMkLst>
        </pc:spChg>
        <pc:spChg chg="mod">
          <ac:chgData name="Khaled Azmi Alkurd" userId="S::kalkurd@gmu.edu::d8a8490c-4d79-451d-b1ff-270e6eecfde3" providerId="AD" clId="Web-{8209074A-7A7C-82B1-4A0A-2455CBB01856}" dt="2026-01-13T08:13:36.741" v="654" actId="1076"/>
          <ac:spMkLst>
            <pc:docMk/>
            <pc:sldMk cId="1069076631" sldId="2147471176"/>
            <ac:spMk id="16" creationId="{61C0EC47-17B2-D260-9314-A387700C359C}"/>
          </ac:spMkLst>
        </pc:spChg>
        <pc:spChg chg="mod">
          <ac:chgData name="Khaled Azmi Alkurd" userId="S::kalkurd@gmu.edu::d8a8490c-4d79-451d-b1ff-270e6eecfde3" providerId="AD" clId="Web-{8209074A-7A7C-82B1-4A0A-2455CBB01856}" dt="2026-01-13T08:13:36.757" v="655" actId="1076"/>
          <ac:spMkLst>
            <pc:docMk/>
            <pc:sldMk cId="1069076631" sldId="2147471176"/>
            <ac:spMk id="17" creationId="{F1F14F29-D652-7310-C817-4FADE962550F}"/>
          </ac:spMkLst>
        </pc:spChg>
        <pc:spChg chg="mod">
          <ac:chgData name="Khaled Azmi Alkurd" userId="S::kalkurd@gmu.edu::d8a8490c-4d79-451d-b1ff-270e6eecfde3" providerId="AD" clId="Web-{8209074A-7A7C-82B1-4A0A-2455CBB01856}" dt="2026-01-13T08:13:36.788" v="656" actId="1076"/>
          <ac:spMkLst>
            <pc:docMk/>
            <pc:sldMk cId="1069076631" sldId="2147471176"/>
            <ac:spMk id="20" creationId="{957D99E3-4D69-F302-1188-0F6440477A6C}"/>
          </ac:spMkLst>
        </pc:spChg>
        <pc:spChg chg="mod">
          <ac:chgData name="Khaled Azmi Alkurd" userId="S::kalkurd@gmu.edu::d8a8490c-4d79-451d-b1ff-270e6eecfde3" providerId="AD" clId="Web-{8209074A-7A7C-82B1-4A0A-2455CBB01856}" dt="2026-01-13T08:13:36.804" v="657" actId="1076"/>
          <ac:spMkLst>
            <pc:docMk/>
            <pc:sldMk cId="1069076631" sldId="2147471176"/>
            <ac:spMk id="24" creationId="{88D285BE-F4B7-A869-E918-FEE240A09A6C}"/>
          </ac:spMkLst>
        </pc:spChg>
        <pc:spChg chg="mod">
          <ac:chgData name="Khaled Azmi Alkurd" userId="S::kalkurd@gmu.edu::d8a8490c-4d79-451d-b1ff-270e6eecfde3" providerId="AD" clId="Web-{8209074A-7A7C-82B1-4A0A-2455CBB01856}" dt="2026-01-13T08:13:36.819" v="658" actId="1076"/>
          <ac:spMkLst>
            <pc:docMk/>
            <pc:sldMk cId="1069076631" sldId="2147471176"/>
            <ac:spMk id="25" creationId="{F94B16A3-F9A7-EA8B-7702-FCA5C6C35ADB}"/>
          </ac:spMkLst>
        </pc:spChg>
        <pc:cxnChg chg="mod">
          <ac:chgData name="Khaled Azmi Alkurd" userId="S::kalkurd@gmu.edu::d8a8490c-4d79-451d-b1ff-270e6eecfde3" providerId="AD" clId="Web-{8209074A-7A7C-82B1-4A0A-2455CBB01856}" dt="2026-01-13T08:13:36.679" v="650" actId="1076"/>
          <ac:cxnSpMkLst>
            <pc:docMk/>
            <pc:sldMk cId="1069076631" sldId="2147471176"/>
            <ac:cxnSpMk id="10" creationId="{549899D6-E142-D664-F52D-F8B060B9DAF3}"/>
          </ac:cxnSpMkLst>
        </pc:cxnChg>
        <pc:cxnChg chg="mod">
          <ac:chgData name="Khaled Azmi Alkurd" userId="S::kalkurd@gmu.edu::d8a8490c-4d79-451d-b1ff-270e6eecfde3" providerId="AD" clId="Web-{8209074A-7A7C-82B1-4A0A-2455CBB01856}" dt="2026-01-13T08:13:36.710" v="652" actId="1076"/>
          <ac:cxnSpMkLst>
            <pc:docMk/>
            <pc:sldMk cId="1069076631" sldId="2147471176"/>
            <ac:cxnSpMk id="12" creationId="{E6DC5F3E-453F-AA91-D55B-A92451EEBFCB}"/>
          </ac:cxnSpMkLst>
        </pc:cxnChg>
        <pc:cxnChg chg="mod">
          <ac:chgData name="Khaled Azmi Alkurd" userId="S::kalkurd@gmu.edu::d8a8490c-4d79-451d-b1ff-270e6eecfde3" providerId="AD" clId="Web-{8209074A-7A7C-82B1-4A0A-2455CBB01856}" dt="2026-01-13T08:13:36.835" v="659" actId="1076"/>
          <ac:cxnSpMkLst>
            <pc:docMk/>
            <pc:sldMk cId="1069076631" sldId="2147471176"/>
            <ac:cxnSpMk id="26" creationId="{08A988DB-D531-3BD6-3534-1CDEF3040711}"/>
          </ac:cxnSpMkLst>
        </pc:cxnChg>
        <pc:cxnChg chg="mod">
          <ac:chgData name="Khaled Azmi Alkurd" userId="S::kalkurd@gmu.edu::d8a8490c-4d79-451d-b1ff-270e6eecfde3" providerId="AD" clId="Web-{8209074A-7A7C-82B1-4A0A-2455CBB01856}" dt="2026-01-13T08:13:36.850" v="660" actId="1076"/>
          <ac:cxnSpMkLst>
            <pc:docMk/>
            <pc:sldMk cId="1069076631" sldId="2147471176"/>
            <ac:cxnSpMk id="29" creationId="{795BA8B3-840B-314C-4C23-D6C23948DA1B}"/>
          </ac:cxnSpMkLst>
        </pc:cxnChg>
      </pc:sldChg>
      <pc:sldChg chg="addSp modSp">
        <pc:chgData name="Khaled Azmi Alkurd" userId="S::kalkurd@gmu.edu::d8a8490c-4d79-451d-b1ff-270e6eecfde3" providerId="AD" clId="Web-{8209074A-7A7C-82B1-4A0A-2455CBB01856}" dt="2026-01-13T08:31:27.639" v="686" actId="20577"/>
        <pc:sldMkLst>
          <pc:docMk/>
          <pc:sldMk cId="3246686144" sldId="2147471452"/>
        </pc:sldMkLst>
        <pc:spChg chg="add">
          <ac:chgData name="Khaled Azmi Alkurd" userId="S::kalkurd@gmu.edu::d8a8490c-4d79-451d-b1ff-270e6eecfde3" providerId="AD" clId="Web-{8209074A-7A7C-82B1-4A0A-2455CBB01856}" dt="2026-01-13T07:53:08.938" v="337"/>
          <ac:spMkLst>
            <pc:docMk/>
            <pc:sldMk cId="3246686144" sldId="2147471452"/>
            <ac:spMk id="3" creationId="{4F7FB062-E016-994F-F3BB-9DEBF34BE233}"/>
          </ac:spMkLst>
        </pc:spChg>
        <pc:spChg chg="mod">
          <ac:chgData name="Khaled Azmi Alkurd" userId="S::kalkurd@gmu.edu::d8a8490c-4d79-451d-b1ff-270e6eecfde3" providerId="AD" clId="Web-{8209074A-7A7C-82B1-4A0A-2455CBB01856}" dt="2026-01-13T07:54:22.580" v="358" actId="1076"/>
          <ac:spMkLst>
            <pc:docMk/>
            <pc:sldMk cId="3246686144" sldId="2147471452"/>
            <ac:spMk id="4" creationId="{8AF5173F-5F9C-4B2A-6690-36ED35745210}"/>
          </ac:spMkLst>
        </pc:spChg>
        <pc:spChg chg="mod">
          <ac:chgData name="Khaled Azmi Alkurd" userId="S::kalkurd@gmu.edu::d8a8490c-4d79-451d-b1ff-270e6eecfde3" providerId="AD" clId="Web-{8209074A-7A7C-82B1-4A0A-2455CBB01856}" dt="2026-01-13T08:30:53.106" v="684" actId="20577"/>
          <ac:spMkLst>
            <pc:docMk/>
            <pc:sldMk cId="3246686144" sldId="2147471452"/>
            <ac:spMk id="6" creationId="{4A690E94-3404-4288-03BC-C5BCD9961FEE}"/>
          </ac:spMkLst>
        </pc:spChg>
        <pc:spChg chg="mod">
          <ac:chgData name="Khaled Azmi Alkurd" userId="S::kalkurd@gmu.edu::d8a8490c-4d79-451d-b1ff-270e6eecfde3" providerId="AD" clId="Web-{8209074A-7A7C-82B1-4A0A-2455CBB01856}" dt="2026-01-13T07:53:58.033" v="343" actId="14100"/>
          <ac:spMkLst>
            <pc:docMk/>
            <pc:sldMk cId="3246686144" sldId="2147471452"/>
            <ac:spMk id="7" creationId="{D7E4287A-8993-805B-081F-0E4D01412C2A}"/>
          </ac:spMkLst>
        </pc:spChg>
        <pc:spChg chg="add mod">
          <ac:chgData name="Khaled Azmi Alkurd" userId="S::kalkurd@gmu.edu::d8a8490c-4d79-451d-b1ff-270e6eecfde3" providerId="AD" clId="Web-{8209074A-7A7C-82B1-4A0A-2455CBB01856}" dt="2026-01-13T08:14:47.304" v="662" actId="20577"/>
          <ac:spMkLst>
            <pc:docMk/>
            <pc:sldMk cId="3246686144" sldId="2147471452"/>
            <ac:spMk id="8" creationId="{EF764310-F6C8-4D58-667B-502055AF4EB8}"/>
          </ac:spMkLst>
        </pc:spChg>
        <pc:spChg chg="mod">
          <ac:chgData name="Khaled Azmi Alkurd" userId="S::kalkurd@gmu.edu::d8a8490c-4d79-451d-b1ff-270e6eecfde3" providerId="AD" clId="Web-{8209074A-7A7C-82B1-4A0A-2455CBB01856}" dt="2026-01-13T07:54:22.596" v="359" actId="1076"/>
          <ac:spMkLst>
            <pc:docMk/>
            <pc:sldMk cId="3246686144" sldId="2147471452"/>
            <ac:spMk id="9" creationId="{37DFDA01-422F-D1FD-25DB-17D039D993EF}"/>
          </ac:spMkLst>
        </pc:spChg>
        <pc:spChg chg="mod">
          <ac:chgData name="Khaled Azmi Alkurd" userId="S::kalkurd@gmu.edu::d8a8490c-4d79-451d-b1ff-270e6eecfde3" providerId="AD" clId="Web-{8209074A-7A7C-82B1-4A0A-2455CBB01856}" dt="2026-01-13T07:54:22.611" v="360" actId="1076"/>
          <ac:spMkLst>
            <pc:docMk/>
            <pc:sldMk cId="3246686144" sldId="2147471452"/>
            <ac:spMk id="11" creationId="{7716B454-535C-E895-2F6C-69CF88A9E79E}"/>
          </ac:spMkLst>
        </pc:spChg>
        <pc:spChg chg="mod">
          <ac:chgData name="Khaled Azmi Alkurd" userId="S::kalkurd@gmu.edu::d8a8490c-4d79-451d-b1ff-270e6eecfde3" providerId="AD" clId="Web-{8209074A-7A7C-82B1-4A0A-2455CBB01856}" dt="2026-01-13T07:54:22.627" v="361" actId="1076"/>
          <ac:spMkLst>
            <pc:docMk/>
            <pc:sldMk cId="3246686144" sldId="2147471452"/>
            <ac:spMk id="13" creationId="{373482E9-0E15-1874-20D5-A0FA3F891CC3}"/>
          </ac:spMkLst>
        </pc:spChg>
        <pc:spChg chg="mod">
          <ac:chgData name="Khaled Azmi Alkurd" userId="S::kalkurd@gmu.edu::d8a8490c-4d79-451d-b1ff-270e6eecfde3" providerId="AD" clId="Web-{8209074A-7A7C-82B1-4A0A-2455CBB01856}" dt="2026-01-13T07:54:22.642" v="362" actId="1076"/>
          <ac:spMkLst>
            <pc:docMk/>
            <pc:sldMk cId="3246686144" sldId="2147471452"/>
            <ac:spMk id="15" creationId="{31029DB3-5F43-46FD-2CC6-B32B961D071B}"/>
          </ac:spMkLst>
        </pc:spChg>
        <pc:spChg chg="mod">
          <ac:chgData name="Khaled Azmi Alkurd" userId="S::kalkurd@gmu.edu::d8a8490c-4d79-451d-b1ff-270e6eecfde3" providerId="AD" clId="Web-{8209074A-7A7C-82B1-4A0A-2455CBB01856}" dt="2026-01-13T07:54:22.642" v="363" actId="1076"/>
          <ac:spMkLst>
            <pc:docMk/>
            <pc:sldMk cId="3246686144" sldId="2147471452"/>
            <ac:spMk id="17" creationId="{376B1505-D9A0-AA14-3DBA-5E8D18C4E527}"/>
          </ac:spMkLst>
        </pc:spChg>
        <pc:spChg chg="mod">
          <ac:chgData name="Khaled Azmi Alkurd" userId="S::kalkurd@gmu.edu::d8a8490c-4d79-451d-b1ff-270e6eecfde3" providerId="AD" clId="Web-{8209074A-7A7C-82B1-4A0A-2455CBB01856}" dt="2026-01-13T08:31:27.639" v="686" actId="20577"/>
          <ac:spMkLst>
            <pc:docMk/>
            <pc:sldMk cId="3246686144" sldId="2147471452"/>
            <ac:spMk id="19" creationId="{B3242CC5-6649-DED9-AEDD-2D260F631E2E}"/>
          </ac:spMkLst>
        </pc:spChg>
        <pc:spChg chg="mod">
          <ac:chgData name="Khaled Azmi Alkurd" userId="S::kalkurd@gmu.edu::d8a8490c-4d79-451d-b1ff-270e6eecfde3" providerId="AD" clId="Web-{8209074A-7A7C-82B1-4A0A-2455CBB01856}" dt="2026-01-13T07:54:22.674" v="365" actId="1076"/>
          <ac:spMkLst>
            <pc:docMk/>
            <pc:sldMk cId="3246686144" sldId="2147471452"/>
            <ac:spMk id="21" creationId="{7DEAEC9E-6F95-63B7-5D6E-FF4AC17C7134}"/>
          </ac:spMkLst>
        </pc:spChg>
        <pc:spChg chg="mod">
          <ac:chgData name="Khaled Azmi Alkurd" userId="S::kalkurd@gmu.edu::d8a8490c-4d79-451d-b1ff-270e6eecfde3" providerId="AD" clId="Web-{8209074A-7A7C-82B1-4A0A-2455CBB01856}" dt="2026-01-13T07:54:22.689" v="366" actId="1076"/>
          <ac:spMkLst>
            <pc:docMk/>
            <pc:sldMk cId="3246686144" sldId="2147471452"/>
            <ac:spMk id="23" creationId="{776A580A-2BBA-0C6C-5B14-DB436DE2A87C}"/>
          </ac:spMkLst>
        </pc:spChg>
        <pc:spChg chg="mod">
          <ac:chgData name="Khaled Azmi Alkurd" userId="S::kalkurd@gmu.edu::d8a8490c-4d79-451d-b1ff-270e6eecfde3" providerId="AD" clId="Web-{8209074A-7A7C-82B1-4A0A-2455CBB01856}" dt="2026-01-13T07:54:22.705" v="367" actId="1076"/>
          <ac:spMkLst>
            <pc:docMk/>
            <pc:sldMk cId="3246686144" sldId="2147471452"/>
            <ac:spMk id="25" creationId="{9A663CB6-1C24-D4E7-AFB0-65866BE3F43B}"/>
          </ac:spMkLst>
        </pc:spChg>
        <pc:spChg chg="mod">
          <ac:chgData name="Khaled Azmi Alkurd" userId="S::kalkurd@gmu.edu::d8a8490c-4d79-451d-b1ff-270e6eecfde3" providerId="AD" clId="Web-{8209074A-7A7C-82B1-4A0A-2455CBB01856}" dt="2026-01-13T07:54:22.721" v="368" actId="1076"/>
          <ac:spMkLst>
            <pc:docMk/>
            <pc:sldMk cId="3246686144" sldId="2147471452"/>
            <ac:spMk id="27" creationId="{3DB68407-4176-EA82-8579-D944E7E7F84D}"/>
          </ac:spMkLst>
        </pc:spChg>
        <pc:spChg chg="mod">
          <ac:chgData name="Khaled Azmi Alkurd" userId="S::kalkurd@gmu.edu::d8a8490c-4d79-451d-b1ff-270e6eecfde3" providerId="AD" clId="Web-{8209074A-7A7C-82B1-4A0A-2455CBB01856}" dt="2026-01-13T07:54:22.736" v="369" actId="1076"/>
          <ac:spMkLst>
            <pc:docMk/>
            <pc:sldMk cId="3246686144" sldId="2147471452"/>
            <ac:spMk id="29" creationId="{6C42F0C2-86A3-12E4-7A35-C4CED0EDBB87}"/>
          </ac:spMkLst>
        </pc:spChg>
        <pc:spChg chg="mod">
          <ac:chgData name="Khaled Azmi Alkurd" userId="S::kalkurd@gmu.edu::d8a8490c-4d79-451d-b1ff-270e6eecfde3" providerId="AD" clId="Web-{8209074A-7A7C-82B1-4A0A-2455CBB01856}" dt="2026-01-13T07:54:22.752" v="370" actId="1076"/>
          <ac:spMkLst>
            <pc:docMk/>
            <pc:sldMk cId="3246686144" sldId="2147471452"/>
            <ac:spMk id="31" creationId="{32682E78-9335-E26F-12BF-883C765ED549}"/>
          </ac:spMkLst>
        </pc:spChg>
      </pc:sldChg>
      <pc:sldChg chg="addSp delSp modSp">
        <pc:chgData name="Khaled Azmi Alkurd" userId="S::kalkurd@gmu.edu::d8a8490c-4d79-451d-b1ff-270e6eecfde3" providerId="AD" clId="Web-{8209074A-7A7C-82B1-4A0A-2455CBB01856}" dt="2026-01-13T07:55:45.627" v="392" actId="14100"/>
        <pc:sldMkLst>
          <pc:docMk/>
          <pc:sldMk cId="3720278267" sldId="2147471455"/>
        </pc:sldMkLst>
        <pc:spChg chg="mod">
          <ac:chgData name="Khaled Azmi Alkurd" userId="S::kalkurd@gmu.edu::d8a8490c-4d79-451d-b1ff-270e6eecfde3" providerId="AD" clId="Web-{8209074A-7A7C-82B1-4A0A-2455CBB01856}" dt="2026-01-13T07:55:38.987" v="391" actId="14100"/>
          <ac:spMkLst>
            <pc:docMk/>
            <pc:sldMk cId="3720278267" sldId="2147471455"/>
            <ac:spMk id="2" creationId="{C88FED43-621D-8095-6A1E-FDD35DE4742C}"/>
          </ac:spMkLst>
        </pc:spChg>
        <pc:spChg chg="add">
          <ac:chgData name="Khaled Azmi Alkurd" userId="S::kalkurd@gmu.edu::d8a8490c-4d79-451d-b1ff-270e6eecfde3" providerId="AD" clId="Web-{8209074A-7A7C-82B1-4A0A-2455CBB01856}" dt="2026-01-13T07:53:06.282" v="336"/>
          <ac:spMkLst>
            <pc:docMk/>
            <pc:sldMk cId="3720278267" sldId="2147471455"/>
            <ac:spMk id="8" creationId="{5AC41F51-56AE-31A3-14E0-0A67ACDCEF9D}"/>
          </ac:spMkLst>
        </pc:spChg>
        <pc:spChg chg="add mod">
          <ac:chgData name="Khaled Azmi Alkurd" userId="S::kalkurd@gmu.edu::d8a8490c-4d79-451d-b1ff-270e6eecfde3" providerId="AD" clId="Web-{8209074A-7A7C-82B1-4A0A-2455CBB01856}" dt="2026-01-13T07:55:45.627" v="392" actId="14100"/>
          <ac:spMkLst>
            <pc:docMk/>
            <pc:sldMk cId="3720278267" sldId="2147471455"/>
            <ac:spMk id="13" creationId="{D364CAAB-896F-13CE-8752-68A436375764}"/>
          </ac:spMkLst>
        </pc:spChg>
      </pc:sldChg>
      <pc:sldChg chg="addSp delSp modSp">
        <pc:chgData name="Khaled Azmi Alkurd" userId="S::kalkurd@gmu.edu::d8a8490c-4d79-451d-b1ff-270e6eecfde3" providerId="AD" clId="Web-{8209074A-7A7C-82B1-4A0A-2455CBB01856}" dt="2026-01-13T07:58:00.518" v="485"/>
        <pc:sldMkLst>
          <pc:docMk/>
          <pc:sldMk cId="1562903043" sldId="2147472444"/>
        </pc:sldMkLst>
        <pc:spChg chg="add">
          <ac:chgData name="Khaled Azmi Alkurd" userId="S::kalkurd@gmu.edu::d8a8490c-4d79-451d-b1ff-270e6eecfde3" providerId="AD" clId="Web-{8209074A-7A7C-82B1-4A0A-2455CBB01856}" dt="2026-01-13T07:53:04.157" v="335"/>
          <ac:spMkLst>
            <pc:docMk/>
            <pc:sldMk cId="1562903043" sldId="2147472444"/>
            <ac:spMk id="4" creationId="{4D51B276-1AFE-22B5-7B87-936AC862FCE2}"/>
          </ac:spMkLst>
        </pc:spChg>
        <pc:graphicFrameChg chg="mod modGraphic">
          <ac:chgData name="Khaled Azmi Alkurd" userId="S::kalkurd@gmu.edu::d8a8490c-4d79-451d-b1ff-270e6eecfde3" providerId="AD" clId="Web-{8209074A-7A7C-82B1-4A0A-2455CBB01856}" dt="2026-01-13T07:56:46.127" v="472"/>
          <ac:graphicFrameMkLst>
            <pc:docMk/>
            <pc:sldMk cId="1562903043" sldId="2147472444"/>
            <ac:graphicFrameMk id="26" creationId="{25BECAAD-A7F0-A6B9-5729-CE992C5AD733}"/>
          </ac:graphicFrameMkLst>
        </pc:graphicFrameChg>
        <pc:picChg chg="mod modCrop">
          <ac:chgData name="Khaled Azmi Alkurd" userId="S::kalkurd@gmu.edu::d8a8490c-4d79-451d-b1ff-270e6eecfde3" providerId="AD" clId="Web-{8209074A-7A7C-82B1-4A0A-2455CBB01856}" dt="2026-01-13T07:57:27.893" v="480" actId="1076"/>
          <ac:picMkLst>
            <pc:docMk/>
            <pc:sldMk cId="1562903043" sldId="2147472444"/>
            <ac:picMk id="8" creationId="{AA906DC3-8B31-122E-ED0C-83B5D097DC57}"/>
          </ac:picMkLst>
        </pc:picChg>
        <pc:picChg chg="mod modCrop">
          <ac:chgData name="Khaled Azmi Alkurd" userId="S::kalkurd@gmu.edu::d8a8490c-4d79-451d-b1ff-270e6eecfde3" providerId="AD" clId="Web-{8209074A-7A7C-82B1-4A0A-2455CBB01856}" dt="2026-01-13T07:58:00.518" v="485"/>
          <ac:picMkLst>
            <pc:docMk/>
            <pc:sldMk cId="1562903043" sldId="2147472444"/>
            <ac:picMk id="27" creationId="{56771E8E-0915-3F0F-9AAF-4B9BB5EDBE1A}"/>
          </ac:picMkLst>
        </pc:picChg>
      </pc:sldChg>
      <pc:sldChg chg="addSp delSp modSp">
        <pc:chgData name="Khaled Azmi Alkurd" userId="S::kalkurd@gmu.edu::d8a8490c-4d79-451d-b1ff-270e6eecfde3" providerId="AD" clId="Web-{8209074A-7A7C-82B1-4A0A-2455CBB01856}" dt="2026-01-13T07:58:41.190" v="486"/>
        <pc:sldMkLst>
          <pc:docMk/>
          <pc:sldMk cId="1998565782" sldId="2147472446"/>
        </pc:sldMkLst>
        <pc:spChg chg="mod">
          <ac:chgData name="Khaled Azmi Alkurd" userId="S::kalkurd@gmu.edu::d8a8490c-4d79-451d-b1ff-270e6eecfde3" providerId="AD" clId="Web-{8209074A-7A7C-82B1-4A0A-2455CBB01856}" dt="2026-01-13T07:44:34.640" v="144" actId="1076"/>
          <ac:spMkLst>
            <pc:docMk/>
            <pc:sldMk cId="1998565782" sldId="2147472446"/>
            <ac:spMk id="6" creationId="{874100F4-C2DA-5490-EA52-81EDFBEE9C87}"/>
          </ac:spMkLst>
        </pc:spChg>
        <pc:spChg chg="mod">
          <ac:chgData name="Khaled Azmi Alkurd" userId="S::kalkurd@gmu.edu::d8a8490c-4d79-451d-b1ff-270e6eecfde3" providerId="AD" clId="Web-{8209074A-7A7C-82B1-4A0A-2455CBB01856}" dt="2026-01-13T07:44:34.656" v="145" actId="1076"/>
          <ac:spMkLst>
            <pc:docMk/>
            <pc:sldMk cId="1998565782" sldId="2147472446"/>
            <ac:spMk id="7" creationId="{483F13D1-1806-229D-B661-DE96D845C2F8}"/>
          </ac:spMkLst>
        </pc:spChg>
        <pc:spChg chg="mod">
          <ac:chgData name="Khaled Azmi Alkurd" userId="S::kalkurd@gmu.edu::d8a8490c-4d79-451d-b1ff-270e6eecfde3" providerId="AD" clId="Web-{8209074A-7A7C-82B1-4A0A-2455CBB01856}" dt="2026-01-13T07:45:00.141" v="151" actId="1076"/>
          <ac:spMkLst>
            <pc:docMk/>
            <pc:sldMk cId="1998565782" sldId="2147472446"/>
            <ac:spMk id="9" creationId="{D8B20DA1-F1A3-9657-3380-9BC575936083}"/>
          </ac:spMkLst>
        </pc:spChg>
        <pc:spChg chg="mod">
          <ac:chgData name="Khaled Azmi Alkurd" userId="S::kalkurd@gmu.edu::d8a8490c-4d79-451d-b1ff-270e6eecfde3" providerId="AD" clId="Web-{8209074A-7A7C-82B1-4A0A-2455CBB01856}" dt="2026-01-13T07:45:07.376" v="152" actId="1076"/>
          <ac:spMkLst>
            <pc:docMk/>
            <pc:sldMk cId="1998565782" sldId="2147472446"/>
            <ac:spMk id="10" creationId="{056CDA96-F733-A44D-9102-93A88BB200C8}"/>
          </ac:spMkLst>
        </pc:spChg>
        <pc:spChg chg="mod">
          <ac:chgData name="Khaled Azmi Alkurd" userId="S::kalkurd@gmu.edu::d8a8490c-4d79-451d-b1ff-270e6eecfde3" providerId="AD" clId="Web-{8209074A-7A7C-82B1-4A0A-2455CBB01856}" dt="2026-01-13T07:44:34.687" v="148" actId="1076"/>
          <ac:spMkLst>
            <pc:docMk/>
            <pc:sldMk cId="1998565782" sldId="2147472446"/>
            <ac:spMk id="11" creationId="{E84E63EC-ACF1-422A-D72E-10CDC12D4707}"/>
          </ac:spMkLst>
        </pc:spChg>
        <pc:spChg chg="mod">
          <ac:chgData name="Khaled Azmi Alkurd" userId="S::kalkurd@gmu.edu::d8a8490c-4d79-451d-b1ff-270e6eecfde3" providerId="AD" clId="Web-{8209074A-7A7C-82B1-4A0A-2455CBB01856}" dt="2026-01-13T07:44:34.703" v="149" actId="1076"/>
          <ac:spMkLst>
            <pc:docMk/>
            <pc:sldMk cId="1998565782" sldId="2147472446"/>
            <ac:spMk id="12" creationId="{0DDA3504-D18A-BB61-6BAA-6707B83E2D1C}"/>
          </ac:spMkLst>
        </pc:spChg>
        <pc:spChg chg="add">
          <ac:chgData name="Khaled Azmi Alkurd" userId="S::kalkurd@gmu.edu::d8a8490c-4d79-451d-b1ff-270e6eecfde3" providerId="AD" clId="Web-{8209074A-7A7C-82B1-4A0A-2455CBB01856}" dt="2026-01-13T07:53:02.141" v="334"/>
          <ac:spMkLst>
            <pc:docMk/>
            <pc:sldMk cId="1998565782" sldId="2147472446"/>
            <ac:spMk id="13" creationId="{09799A9E-E88C-FA03-E6D0-5F834D6B1CE4}"/>
          </ac:spMkLst>
        </pc:spChg>
        <pc:grpChg chg="add">
          <ac:chgData name="Khaled Azmi Alkurd" userId="S::kalkurd@gmu.edu::d8a8490c-4d79-451d-b1ff-270e6eecfde3" providerId="AD" clId="Web-{8209074A-7A7C-82B1-4A0A-2455CBB01856}" dt="2026-01-13T07:44:50.516" v="150"/>
          <ac:grpSpMkLst>
            <pc:docMk/>
            <pc:sldMk cId="1998565782" sldId="2147472446"/>
            <ac:grpSpMk id="3" creationId="{7E4FAC6A-5F9B-6177-5C4B-8FAFE341CEFB}"/>
          </ac:grpSpMkLst>
        </pc:grpChg>
        <pc:picChg chg="mod modCrop">
          <ac:chgData name="Khaled Azmi Alkurd" userId="S::kalkurd@gmu.edu::d8a8490c-4d79-451d-b1ff-270e6eecfde3" providerId="AD" clId="Web-{8209074A-7A7C-82B1-4A0A-2455CBB01856}" dt="2026-01-13T07:44:24.984" v="143"/>
          <ac:picMkLst>
            <pc:docMk/>
            <pc:sldMk cId="1998565782" sldId="2147472446"/>
            <ac:picMk id="4" creationId="{331E6B17-26A5-E4DF-3406-F922AE0B9D0B}"/>
          </ac:picMkLst>
        </pc:picChg>
      </pc:sldChg>
      <pc:sldChg chg="addSp modSp">
        <pc:chgData name="Khaled Azmi Alkurd" userId="S::kalkurd@gmu.edu::d8a8490c-4d79-451d-b1ff-270e6eecfde3" providerId="AD" clId="Web-{8209074A-7A7C-82B1-4A0A-2455CBB01856}" dt="2026-01-13T08:00:17.299" v="510" actId="1076"/>
        <pc:sldMkLst>
          <pc:docMk/>
          <pc:sldMk cId="1561532402" sldId="2147472447"/>
        </pc:sldMkLst>
        <pc:spChg chg="add">
          <ac:chgData name="Khaled Azmi Alkurd" userId="S::kalkurd@gmu.edu::d8a8490c-4d79-451d-b1ff-270e6eecfde3" providerId="AD" clId="Web-{8209074A-7A7C-82B1-4A0A-2455CBB01856}" dt="2026-01-13T07:52:59.907" v="333"/>
          <ac:spMkLst>
            <pc:docMk/>
            <pc:sldMk cId="1561532402" sldId="2147472447"/>
            <ac:spMk id="5" creationId="{13FA18DB-CF64-C74B-0844-F529665B0B5F}"/>
          </ac:spMkLst>
        </pc:spChg>
        <pc:spChg chg="mod">
          <ac:chgData name="Khaled Azmi Alkurd" userId="S::kalkurd@gmu.edu::d8a8490c-4d79-451d-b1ff-270e6eecfde3" providerId="AD" clId="Web-{8209074A-7A7C-82B1-4A0A-2455CBB01856}" dt="2026-01-13T08:00:12.112" v="509" actId="14100"/>
          <ac:spMkLst>
            <pc:docMk/>
            <pc:sldMk cId="1561532402" sldId="2147472447"/>
            <ac:spMk id="16" creationId="{9B190FFE-9C86-EC9F-51AD-4C370C1E65D7}"/>
          </ac:spMkLst>
        </pc:spChg>
        <pc:spChg chg="mod">
          <ac:chgData name="Khaled Azmi Alkurd" userId="S::kalkurd@gmu.edu::d8a8490c-4d79-451d-b1ff-270e6eecfde3" providerId="AD" clId="Web-{8209074A-7A7C-82B1-4A0A-2455CBB01856}" dt="2026-01-13T08:00:17.299" v="510" actId="1076"/>
          <ac:spMkLst>
            <pc:docMk/>
            <pc:sldMk cId="1561532402" sldId="2147472447"/>
            <ac:spMk id="21" creationId="{6E8ED707-1F75-C522-B9D2-2B531C27E3E9}"/>
          </ac:spMkLst>
        </pc:spChg>
      </pc:sldChg>
      <pc:sldChg chg="addSp delSp modSp">
        <pc:chgData name="Khaled Azmi Alkurd" userId="S::kalkurd@gmu.edu::d8a8490c-4d79-451d-b1ff-270e6eecfde3" providerId="AD" clId="Web-{8209074A-7A7C-82B1-4A0A-2455CBB01856}" dt="2026-01-13T08:05:14.259" v="590" actId="20577"/>
        <pc:sldMkLst>
          <pc:docMk/>
          <pc:sldMk cId="735017481" sldId="2147472448"/>
        </pc:sldMkLst>
        <pc:spChg chg="add">
          <ac:chgData name="Khaled Azmi Alkurd" userId="S::kalkurd@gmu.edu::d8a8490c-4d79-451d-b1ff-270e6eecfde3" providerId="AD" clId="Web-{8209074A-7A7C-82B1-4A0A-2455CBB01856}" dt="2026-01-13T07:52:58.313" v="332"/>
          <ac:spMkLst>
            <pc:docMk/>
            <pc:sldMk cId="735017481" sldId="2147472448"/>
            <ac:spMk id="6" creationId="{F281137C-7930-4B3E-42DF-2DDC19A59B74}"/>
          </ac:spMkLst>
        </pc:spChg>
        <pc:spChg chg="mod">
          <ac:chgData name="Khaled Azmi Alkurd" userId="S::kalkurd@gmu.edu::d8a8490c-4d79-451d-b1ff-270e6eecfde3" providerId="AD" clId="Web-{8209074A-7A7C-82B1-4A0A-2455CBB01856}" dt="2026-01-13T08:02:34.015" v="546" actId="14100"/>
          <ac:spMkLst>
            <pc:docMk/>
            <pc:sldMk cId="735017481" sldId="2147472448"/>
            <ac:spMk id="7" creationId="{2847D536-25ED-B1BC-A95C-232A93F2372E}"/>
          </ac:spMkLst>
        </pc:spChg>
        <pc:spChg chg="add mod">
          <ac:chgData name="Khaled Azmi Alkurd" userId="S::kalkurd@gmu.edu::d8a8490c-4d79-451d-b1ff-270e6eecfde3" providerId="AD" clId="Web-{8209074A-7A7C-82B1-4A0A-2455CBB01856}" dt="2026-01-13T08:05:14.259" v="590" actId="20577"/>
          <ac:spMkLst>
            <pc:docMk/>
            <pc:sldMk cId="735017481" sldId="2147472448"/>
            <ac:spMk id="12" creationId="{9265D1A0-45B5-E34A-D381-94FEA6590F3C}"/>
          </ac:spMkLst>
        </pc:spChg>
        <pc:graphicFrameChg chg="mod modGraphic">
          <ac:chgData name="Khaled Azmi Alkurd" userId="S::kalkurd@gmu.edu::d8a8490c-4d79-451d-b1ff-270e6eecfde3" providerId="AD" clId="Web-{8209074A-7A7C-82B1-4A0A-2455CBB01856}" dt="2026-01-13T08:03:19.425" v="578" actId="1076"/>
          <ac:graphicFrameMkLst>
            <pc:docMk/>
            <pc:sldMk cId="735017481" sldId="2147472448"/>
            <ac:graphicFrameMk id="3" creationId="{1E2827D1-C5AB-0F5D-2023-AA2260A3634F}"/>
          </ac:graphicFrameMkLst>
        </pc:graphicFrameChg>
        <pc:picChg chg="mod">
          <ac:chgData name="Khaled Azmi Alkurd" userId="S::kalkurd@gmu.edu::d8a8490c-4d79-451d-b1ff-270e6eecfde3" providerId="AD" clId="Web-{8209074A-7A7C-82B1-4A0A-2455CBB01856}" dt="2026-01-13T08:04:50.852" v="584" actId="1076"/>
          <ac:picMkLst>
            <pc:docMk/>
            <pc:sldMk cId="735017481" sldId="2147472448"/>
            <ac:picMk id="8" creationId="{89308627-29C4-D9A7-774C-3D9033252E38}"/>
          </ac:picMkLst>
        </pc:picChg>
      </pc:sldChg>
    </pc:docChg>
  </pc:docChgLst>
  <pc:docChgLst>
    <pc:chgData name="Yiguedan Andy Yaro" userId="S::yyaro@gmu.edu::0bc60cd9-ce11-4c17-b712-5d9396d74f80" providerId="AD" clId="Web-{13419C14-581C-EF5E-55A8-361562C0789A}"/>
    <pc:docChg chg="modSld">
      <pc:chgData name="Yiguedan Andy Yaro" userId="S::yyaro@gmu.edu::0bc60cd9-ce11-4c17-b712-5d9396d74f80" providerId="AD" clId="Web-{13419C14-581C-EF5E-55A8-361562C0789A}" dt="2026-01-15T19:43:06.513" v="4"/>
      <pc:docMkLst>
        <pc:docMk/>
      </pc:docMkLst>
      <pc:sldChg chg="modNotes">
        <pc:chgData name="Yiguedan Andy Yaro" userId="S::yyaro@gmu.edu::0bc60cd9-ce11-4c17-b712-5d9396d74f80" providerId="AD" clId="Web-{13419C14-581C-EF5E-55A8-361562C0789A}" dt="2026-01-15T19:43:06.513" v="4"/>
        <pc:sldMkLst>
          <pc:docMk/>
          <pc:sldMk cId="130524519" sldId="2147472458"/>
        </pc:sldMkLst>
      </pc:sldChg>
    </pc:docChg>
  </pc:docChgLst>
  <pc:docChgLst>
    <pc:chgData name="Lakshmi Pranavi Doodala" userId="S::ldoodala@gmu.edu::e83b3efd-028e-479f-903f-2182a0b2285c" providerId="AD" clId="Web-{C1A3456F-E9AE-DDAD-3498-659865879AC8}"/>
    <pc:docChg chg="modSld">
      <pc:chgData name="Lakshmi Pranavi Doodala" userId="S::ldoodala@gmu.edu::e83b3efd-028e-479f-903f-2182a0b2285c" providerId="AD" clId="Web-{C1A3456F-E9AE-DDAD-3498-659865879AC8}" dt="2026-01-14T21:03:01.345" v="85" actId="20577"/>
      <pc:docMkLst>
        <pc:docMk/>
      </pc:docMkLst>
      <pc:sldChg chg="modSp">
        <pc:chgData name="Lakshmi Pranavi Doodala" userId="S::ldoodala@gmu.edu::e83b3efd-028e-479f-903f-2182a0b2285c" providerId="AD" clId="Web-{C1A3456F-E9AE-DDAD-3498-659865879AC8}" dt="2026-01-14T21:03:01.345" v="85" actId="20577"/>
        <pc:sldMkLst>
          <pc:docMk/>
          <pc:sldMk cId="3572240398" sldId="2147470985"/>
        </pc:sldMkLst>
        <pc:spChg chg="mod">
          <ac:chgData name="Lakshmi Pranavi Doodala" userId="S::ldoodala@gmu.edu::e83b3efd-028e-479f-903f-2182a0b2285c" providerId="AD" clId="Web-{C1A3456F-E9AE-DDAD-3498-659865879AC8}" dt="2026-01-14T21:03:01.345" v="85" actId="20577"/>
          <ac:spMkLst>
            <pc:docMk/>
            <pc:sldMk cId="3572240398" sldId="2147470985"/>
            <ac:spMk id="337" creationId="{55A8903B-C365-DB64-6426-2DBCE38E7F7E}"/>
          </ac:spMkLst>
        </pc:spChg>
        <pc:picChg chg="mod modCrop">
          <ac:chgData name="Lakshmi Pranavi Doodala" userId="S::ldoodala@gmu.edu::e83b3efd-028e-479f-903f-2182a0b2285c" providerId="AD" clId="Web-{C1A3456F-E9AE-DDAD-3498-659865879AC8}" dt="2026-01-14T21:02:20.110" v="70" actId="1076"/>
          <ac:picMkLst>
            <pc:docMk/>
            <pc:sldMk cId="3572240398" sldId="2147470985"/>
            <ac:picMk id="2" creationId="{99C0BDEF-BDF9-1F02-BDFE-7486165D8E64}"/>
          </ac:picMkLst>
        </pc:picChg>
        <pc:picChg chg="mod">
          <ac:chgData name="Lakshmi Pranavi Doodala" userId="S::ldoodala@gmu.edu::e83b3efd-028e-479f-903f-2182a0b2285c" providerId="AD" clId="Web-{C1A3456F-E9AE-DDAD-3498-659865879AC8}" dt="2026-01-14T21:02:37.657" v="73" actId="1076"/>
          <ac:picMkLst>
            <pc:docMk/>
            <pc:sldMk cId="3572240398" sldId="2147470985"/>
            <ac:picMk id="8" creationId="{8C54B0FD-6B85-B3FA-44EA-9C172FC0FCAE}"/>
          </ac:picMkLst>
        </pc:picChg>
      </pc:sldChg>
    </pc:docChg>
  </pc:docChgLst>
  <pc:docChgLst>
    <pc:chgData name="Khaled Azmi Alkurd" userId="S::kalkurd@gmu.edu::d8a8490c-4d79-451d-b1ff-270e6eecfde3" providerId="AD" clId="Web-{700E1175-66DA-C8D0-1092-F79F46EA5178}"/>
    <pc:docChg chg="addSld modSld">
      <pc:chgData name="Khaled Azmi Alkurd" userId="S::kalkurd@gmu.edu::d8a8490c-4d79-451d-b1ff-270e6eecfde3" providerId="AD" clId="Web-{700E1175-66DA-C8D0-1092-F79F46EA5178}" dt="2026-01-11T23:58:37.426" v="10" actId="1076"/>
      <pc:docMkLst>
        <pc:docMk/>
      </pc:docMkLst>
    </pc:docChg>
  </pc:docChgLst>
  <pc:docChgLst>
    <pc:chgData name="Khaled Azmi Alkurd" userId="S::kalkurd@gmu.edu::d8a8490c-4d79-451d-b1ff-270e6eecfde3" providerId="AD" clId="Web-{C949ADE1-7A07-700E-A619-6743F19714E2}"/>
    <pc:docChg chg="addSld delSld modSld sldOrd">
      <pc:chgData name="Khaled Azmi Alkurd" userId="S::kalkurd@gmu.edu::d8a8490c-4d79-451d-b1ff-270e6eecfde3" providerId="AD" clId="Web-{C949ADE1-7A07-700E-A619-6743F19714E2}" dt="2026-01-14T03:32:37.608" v="137" actId="20577"/>
      <pc:docMkLst>
        <pc:docMk/>
      </pc:docMkLst>
      <pc:sldChg chg="addSp delSp modSp ord">
        <pc:chgData name="Khaled Azmi Alkurd" userId="S::kalkurd@gmu.edu::d8a8490c-4d79-451d-b1ff-270e6eecfde3" providerId="AD" clId="Web-{C949ADE1-7A07-700E-A619-6743F19714E2}" dt="2026-01-14T02:43:23.972" v="94" actId="20577"/>
        <pc:sldMkLst>
          <pc:docMk/>
          <pc:sldMk cId="158379550" sldId="2305"/>
        </pc:sldMkLst>
      </pc:sldChg>
      <pc:sldChg chg="modSp">
        <pc:chgData name="Khaled Azmi Alkurd" userId="S::kalkurd@gmu.edu::d8a8490c-4d79-451d-b1ff-270e6eecfde3" providerId="AD" clId="Web-{C949ADE1-7A07-700E-A619-6743F19714E2}" dt="2026-01-14T02:01:27.398" v="88" actId="20577"/>
        <pc:sldMkLst>
          <pc:docMk/>
          <pc:sldMk cId="3572240398" sldId="2147470985"/>
        </pc:sldMkLst>
        <pc:spChg chg="mod">
          <ac:chgData name="Khaled Azmi Alkurd" userId="S::kalkurd@gmu.edu::d8a8490c-4d79-451d-b1ff-270e6eecfde3" providerId="AD" clId="Web-{C949ADE1-7A07-700E-A619-6743F19714E2}" dt="2026-01-14T02:01:27.398" v="88" actId="20577"/>
          <ac:spMkLst>
            <pc:docMk/>
            <pc:sldMk cId="3572240398" sldId="2147470985"/>
            <ac:spMk id="321" creationId="{E45946AE-FC93-C742-E87C-6720DFA6D703}"/>
          </ac:spMkLst>
        </pc:spChg>
      </pc:sldChg>
      <pc:sldChg chg="modSp">
        <pc:chgData name="Khaled Azmi Alkurd" userId="S::kalkurd@gmu.edu::d8a8490c-4d79-451d-b1ff-270e6eecfde3" providerId="AD" clId="Web-{C949ADE1-7A07-700E-A619-6743F19714E2}" dt="2026-01-14T03:32:37.608" v="137" actId="20577"/>
        <pc:sldMkLst>
          <pc:docMk/>
          <pc:sldMk cId="3246686144" sldId="2147471452"/>
        </pc:sldMkLst>
        <pc:spChg chg="mod">
          <ac:chgData name="Khaled Azmi Alkurd" userId="S::kalkurd@gmu.edu::d8a8490c-4d79-451d-b1ff-270e6eecfde3" providerId="AD" clId="Web-{C949ADE1-7A07-700E-A619-6743F19714E2}" dt="2026-01-14T03:32:37.608" v="137" actId="20577"/>
          <ac:spMkLst>
            <pc:docMk/>
            <pc:sldMk cId="3246686144" sldId="2147471452"/>
            <ac:spMk id="19" creationId="{B3242CC5-6649-DED9-AEDD-2D260F631E2E}"/>
          </ac:spMkLst>
        </pc:spChg>
      </pc:sldChg>
      <pc:sldChg chg="modSp add ord">
        <pc:chgData name="Khaled Azmi Alkurd" userId="S::kalkurd@gmu.edu::d8a8490c-4d79-451d-b1ff-270e6eecfde3" providerId="AD" clId="Web-{C949ADE1-7A07-700E-A619-6743F19714E2}" dt="2026-01-13T23:23:41.594" v="47"/>
        <pc:sldMkLst>
          <pc:docMk/>
          <pc:sldMk cId="1855807379" sldId="2147472437"/>
        </pc:sldMkLst>
        <pc:spChg chg="mod">
          <ac:chgData name="Khaled Azmi Alkurd" userId="S::kalkurd@gmu.edu::d8a8490c-4d79-451d-b1ff-270e6eecfde3" providerId="AD" clId="Web-{C949ADE1-7A07-700E-A619-6743F19714E2}" dt="2026-01-13T23:23:14.745" v="40" actId="14100"/>
          <ac:spMkLst>
            <pc:docMk/>
            <pc:sldMk cId="1855807379" sldId="2147472437"/>
            <ac:spMk id="2" creationId="{5A746D18-2552-A118-801C-DC6C8515436D}"/>
          </ac:spMkLst>
        </pc:spChg>
        <pc:spChg chg="mod">
          <ac:chgData name="Khaled Azmi Alkurd" userId="S::kalkurd@gmu.edu::d8a8490c-4d79-451d-b1ff-270e6eecfde3" providerId="AD" clId="Web-{C949ADE1-7A07-700E-A619-6743F19714E2}" dt="2026-01-13T23:23:14.730" v="39" actId="14100"/>
          <ac:spMkLst>
            <pc:docMk/>
            <pc:sldMk cId="1855807379" sldId="2147472437"/>
            <ac:spMk id="3" creationId="{88677BF4-8A1C-CAB0-AF47-C031292D5976}"/>
          </ac:spMkLst>
        </pc:spChg>
        <pc:spChg chg="mod">
          <ac:chgData name="Khaled Azmi Alkurd" userId="S::kalkurd@gmu.edu::d8a8490c-4d79-451d-b1ff-270e6eecfde3" providerId="AD" clId="Web-{C949ADE1-7A07-700E-A619-6743F19714E2}" dt="2026-01-13T23:23:14.745" v="41" actId="14100"/>
          <ac:spMkLst>
            <pc:docMk/>
            <pc:sldMk cId="1855807379" sldId="2147472437"/>
            <ac:spMk id="4" creationId="{1B2C96E4-931A-D946-95F7-1269BC44CEE4}"/>
          </ac:spMkLst>
        </pc:spChg>
      </pc:sldChg>
      <pc:sldChg chg="modSp add ord replId">
        <pc:chgData name="Khaled Azmi Alkurd" userId="S::kalkurd@gmu.edu::d8a8490c-4d79-451d-b1ff-270e6eecfde3" providerId="AD" clId="Web-{C949ADE1-7A07-700E-A619-6743F19714E2}" dt="2026-01-13T23:19:38.147" v="22" actId="20577"/>
        <pc:sldMkLst>
          <pc:docMk/>
          <pc:sldMk cId="3176373537" sldId="2147472453"/>
        </pc:sldMkLst>
        <pc:spChg chg="mod">
          <ac:chgData name="Khaled Azmi Alkurd" userId="S::kalkurd@gmu.edu::d8a8490c-4d79-451d-b1ff-270e6eecfde3" providerId="AD" clId="Web-{C949ADE1-7A07-700E-A619-6743F19714E2}" dt="2026-01-13T23:19:38.147" v="22" actId="20577"/>
          <ac:spMkLst>
            <pc:docMk/>
            <pc:sldMk cId="3176373537" sldId="2147472453"/>
            <ac:spMk id="2" creationId="{4CE20F81-131E-B196-A7EE-400303228352}"/>
          </ac:spMkLst>
        </pc:spChg>
      </pc:sldChg>
      <pc:sldMasterChg chg="addSldLayout">
        <pc:chgData name="Khaled Azmi Alkurd" userId="S::kalkurd@gmu.edu::d8a8490c-4d79-451d-b1ff-270e6eecfde3" providerId="AD" clId="Web-{C949ADE1-7A07-700E-A619-6743F19714E2}" dt="2026-01-13T23:22:50.302" v="30"/>
        <pc:sldMasterMkLst>
          <pc:docMk/>
          <pc:sldMasterMk cId="2460954070" sldId="2147483660"/>
        </pc:sldMasterMkLst>
        <pc:sldLayoutChg chg="add">
          <pc:chgData name="Khaled Azmi Alkurd" userId="S::kalkurd@gmu.edu::d8a8490c-4d79-451d-b1ff-270e6eecfde3" providerId="AD" clId="Web-{C949ADE1-7A07-700E-A619-6743F19714E2}" dt="2026-01-13T23:22:50.302" v="30"/>
          <pc:sldLayoutMkLst>
            <pc:docMk/>
            <pc:sldMasterMk cId="2460954070" sldId="2147483660"/>
            <pc:sldLayoutMk cId="1215306294" sldId="2147483675"/>
          </pc:sldLayoutMkLst>
        </pc:sldLayoutChg>
      </pc:sldMasterChg>
    </pc:docChg>
  </pc:docChgLst>
  <pc:docChgLst>
    <pc:chgData name="Khaled Azmi Alkurd" userId="S::kalkurd@gmu.edu::d8a8490c-4d79-451d-b1ff-270e6eecfde3" providerId="AD" clId="Web-{1FBB1909-9351-F3CF-D3BA-B2FE5BC03A02}"/>
    <pc:docChg chg="modSld">
      <pc:chgData name="Khaled Azmi Alkurd" userId="S::kalkurd@gmu.edu::d8a8490c-4d79-451d-b1ff-270e6eecfde3" providerId="AD" clId="Web-{1FBB1909-9351-F3CF-D3BA-B2FE5BC03A02}" dt="2026-01-15T08:05:18.262" v="542" actId="20577"/>
      <pc:docMkLst>
        <pc:docMk/>
      </pc:docMkLst>
      <pc:sldChg chg="addSp delSp modSp">
        <pc:chgData name="Khaled Azmi Alkurd" userId="S::kalkurd@gmu.edu::d8a8490c-4d79-451d-b1ff-270e6eecfde3" providerId="AD" clId="Web-{1FBB1909-9351-F3CF-D3BA-B2FE5BC03A02}" dt="2026-01-15T07:58:05.813" v="504" actId="20577"/>
        <pc:sldMkLst>
          <pc:docMk/>
          <pc:sldMk cId="3176373537" sldId="2147472453"/>
        </pc:sldMkLst>
        <pc:spChg chg="mod">
          <ac:chgData name="Khaled Azmi Alkurd" userId="S::kalkurd@gmu.edu::d8a8490c-4d79-451d-b1ff-270e6eecfde3" providerId="AD" clId="Web-{1FBB1909-9351-F3CF-D3BA-B2FE5BC03A02}" dt="2026-01-15T06:46:29.104" v="378" actId="1076"/>
          <ac:spMkLst>
            <pc:docMk/>
            <pc:sldMk cId="3176373537" sldId="2147472453"/>
            <ac:spMk id="10" creationId="{924BCA6E-FEC6-FDDC-B438-2BE58B63045B}"/>
          </ac:spMkLst>
        </pc:spChg>
        <pc:spChg chg="mod">
          <ac:chgData name="Khaled Azmi Alkurd" userId="S::kalkurd@gmu.edu::d8a8490c-4d79-451d-b1ff-270e6eecfde3" providerId="AD" clId="Web-{1FBB1909-9351-F3CF-D3BA-B2FE5BC03A02}" dt="2026-01-15T07:54:26.798" v="498" actId="20577"/>
          <ac:spMkLst>
            <pc:docMk/>
            <pc:sldMk cId="3176373537" sldId="2147472453"/>
            <ac:spMk id="14" creationId="{674B8D39-EBFD-5EE5-EB42-4C0E3BBEB98A}"/>
          </ac:spMkLst>
        </pc:spChg>
        <pc:spChg chg="mod">
          <ac:chgData name="Khaled Azmi Alkurd" userId="S::kalkurd@gmu.edu::d8a8490c-4d79-451d-b1ff-270e6eecfde3" providerId="AD" clId="Web-{1FBB1909-9351-F3CF-D3BA-B2FE5BC03A02}" dt="2026-01-15T06:49:26.200" v="395" actId="20577"/>
          <ac:spMkLst>
            <pc:docMk/>
            <pc:sldMk cId="3176373537" sldId="2147472453"/>
            <ac:spMk id="15" creationId="{C9CD5679-4377-E44B-6A37-8D3941B40A60}"/>
          </ac:spMkLst>
        </pc:spChg>
        <pc:spChg chg="mod">
          <ac:chgData name="Khaled Azmi Alkurd" userId="S::kalkurd@gmu.edu::d8a8490c-4d79-451d-b1ff-270e6eecfde3" providerId="AD" clId="Web-{1FBB1909-9351-F3CF-D3BA-B2FE5BC03A02}" dt="2026-01-15T07:53:32.887" v="456" actId="20577"/>
          <ac:spMkLst>
            <pc:docMk/>
            <pc:sldMk cId="3176373537" sldId="2147472453"/>
            <ac:spMk id="16" creationId="{BBA673B9-77C3-00DC-C42E-2F91854ACEC7}"/>
          </ac:spMkLst>
        </pc:spChg>
        <pc:spChg chg="mod">
          <ac:chgData name="Khaled Azmi Alkurd" userId="S::kalkurd@gmu.edu::d8a8490c-4d79-451d-b1ff-270e6eecfde3" providerId="AD" clId="Web-{1FBB1909-9351-F3CF-D3BA-B2FE5BC03A02}" dt="2026-01-15T07:58:05.813" v="504" actId="20577"/>
          <ac:spMkLst>
            <pc:docMk/>
            <pc:sldMk cId="3176373537" sldId="2147472453"/>
            <ac:spMk id="23" creationId="{38A7E6E9-EC8A-4CF5-B60E-7680F66CDEE3}"/>
          </ac:spMkLst>
        </pc:spChg>
        <pc:grpChg chg="add mod">
          <ac:chgData name="Khaled Azmi Alkurd" userId="S::kalkurd@gmu.edu::d8a8490c-4d79-451d-b1ff-270e6eecfde3" providerId="AD" clId="Web-{1FBB1909-9351-F3CF-D3BA-B2FE5BC03A02}" dt="2026-01-15T07:54:26.236" v="496" actId="1076"/>
          <ac:grpSpMkLst>
            <pc:docMk/>
            <pc:sldMk cId="3176373537" sldId="2147472453"/>
            <ac:grpSpMk id="3" creationId="{F4198FB1-0EB4-41A4-2478-23B800CE2E53}"/>
          </ac:grpSpMkLst>
        </pc:grpChg>
      </pc:sldChg>
      <pc:sldChg chg="delSp modSp">
        <pc:chgData name="Khaled Azmi Alkurd" userId="S::kalkurd@gmu.edu::d8a8490c-4d79-451d-b1ff-270e6eecfde3" providerId="AD" clId="Web-{1FBB1909-9351-F3CF-D3BA-B2FE5BC03A02}" dt="2026-01-15T08:01:41.789" v="507" actId="20577"/>
        <pc:sldMkLst>
          <pc:docMk/>
          <pc:sldMk cId="114997428" sldId="2147472457"/>
        </pc:sldMkLst>
        <pc:spChg chg="mod">
          <ac:chgData name="Khaled Azmi Alkurd" userId="S::kalkurd@gmu.edu::d8a8490c-4d79-451d-b1ff-270e6eecfde3" providerId="AD" clId="Web-{1FBB1909-9351-F3CF-D3BA-B2FE5BC03A02}" dt="2026-01-15T06:50:41.256" v="403" actId="14100"/>
          <ac:spMkLst>
            <pc:docMk/>
            <pc:sldMk cId="114997428" sldId="2147472457"/>
            <ac:spMk id="10" creationId="{019A8CE3-57F6-9C71-C735-5140CEE5769F}"/>
          </ac:spMkLst>
        </pc:spChg>
        <pc:spChg chg="mod">
          <ac:chgData name="Khaled Azmi Alkurd" userId="S::kalkurd@gmu.edu::d8a8490c-4d79-451d-b1ff-270e6eecfde3" providerId="AD" clId="Web-{1FBB1909-9351-F3CF-D3BA-B2FE5BC03A02}" dt="2026-01-15T06:37:49.700" v="309" actId="20577"/>
          <ac:spMkLst>
            <pc:docMk/>
            <pc:sldMk cId="114997428" sldId="2147472457"/>
            <ac:spMk id="15" creationId="{36302CDA-6D31-ED44-A516-603E04E4F13A}"/>
          </ac:spMkLst>
        </pc:spChg>
        <pc:spChg chg="mod">
          <ac:chgData name="Khaled Azmi Alkurd" userId="S::kalkurd@gmu.edu::d8a8490c-4d79-451d-b1ff-270e6eecfde3" providerId="AD" clId="Web-{1FBB1909-9351-F3CF-D3BA-B2FE5BC03A02}" dt="2026-01-15T08:01:41.789" v="507" actId="20577"/>
          <ac:spMkLst>
            <pc:docMk/>
            <pc:sldMk cId="114997428" sldId="2147472457"/>
            <ac:spMk id="16" creationId="{8CB23EF8-200A-B022-1F2E-4FF31CCBCFE8}"/>
          </ac:spMkLst>
        </pc:spChg>
        <pc:spChg chg="mod">
          <ac:chgData name="Khaled Azmi Alkurd" userId="S::kalkurd@gmu.edu::d8a8490c-4d79-451d-b1ff-270e6eecfde3" providerId="AD" clId="Web-{1FBB1909-9351-F3CF-D3BA-B2FE5BC03A02}" dt="2026-01-15T06:35:19.129" v="279" actId="20577"/>
          <ac:spMkLst>
            <pc:docMk/>
            <pc:sldMk cId="114997428" sldId="2147472457"/>
            <ac:spMk id="20" creationId="{C9396294-CF6D-62BF-84B9-AFAC26BE5D2B}"/>
          </ac:spMkLst>
        </pc:spChg>
        <pc:spChg chg="mod ord">
          <ac:chgData name="Khaled Azmi Alkurd" userId="S::kalkurd@gmu.edu::d8a8490c-4d79-451d-b1ff-270e6eecfde3" providerId="AD" clId="Web-{1FBB1909-9351-F3CF-D3BA-B2FE5BC03A02}" dt="2026-01-15T06:51:07.575" v="408" actId="20577"/>
          <ac:spMkLst>
            <pc:docMk/>
            <pc:sldMk cId="114997428" sldId="2147472457"/>
            <ac:spMk id="22" creationId="{B57274A3-0D53-C98A-C983-0A055A742E14}"/>
          </ac:spMkLst>
        </pc:spChg>
        <pc:spChg chg="mod">
          <ac:chgData name="Khaled Azmi Alkurd" userId="S::kalkurd@gmu.edu::d8a8490c-4d79-451d-b1ff-270e6eecfde3" providerId="AD" clId="Web-{1FBB1909-9351-F3CF-D3BA-B2FE5BC03A02}" dt="2026-01-15T06:43:18.320" v="356" actId="20577"/>
          <ac:spMkLst>
            <pc:docMk/>
            <pc:sldMk cId="114997428" sldId="2147472457"/>
            <ac:spMk id="23" creationId="{69D977D2-73F9-3C46-46ED-1E5A330AD2DA}"/>
          </ac:spMkLst>
        </pc:spChg>
        <pc:picChg chg="ord">
          <ac:chgData name="Khaled Azmi Alkurd" userId="S::kalkurd@gmu.edu::d8a8490c-4d79-451d-b1ff-270e6eecfde3" providerId="AD" clId="Web-{1FBB1909-9351-F3CF-D3BA-B2FE5BC03A02}" dt="2026-01-15T06:35:39.381" v="281"/>
          <ac:picMkLst>
            <pc:docMk/>
            <pc:sldMk cId="114997428" sldId="2147472457"/>
            <ac:picMk id="17" creationId="{95F6C898-A3A5-5DAB-2A75-A97A11F62F25}"/>
          </ac:picMkLst>
        </pc:picChg>
      </pc:sldChg>
    </pc:docChg>
  </pc:docChgLst>
  <pc:docChgLst>
    <pc:chgData name="Khaled Azmi Alkurd" userId="S::kalkurd@gmu.edu::d8a8490c-4d79-451d-b1ff-270e6eecfde3" providerId="AD" clId="Web-{2AEF2DAD-A3D6-3E58-91C6-C99AE29EC2BB}"/>
    <pc:docChg chg="modSld">
      <pc:chgData name="Khaled Azmi Alkurd" userId="S::kalkurd@gmu.edu::d8a8490c-4d79-451d-b1ff-270e6eecfde3" providerId="AD" clId="Web-{2AEF2DAD-A3D6-3E58-91C6-C99AE29EC2BB}" dt="2026-01-14T09:48:55.905" v="7"/>
      <pc:docMkLst>
        <pc:docMk/>
      </pc:docMkLst>
      <pc:sldChg chg="addSp delSp">
        <pc:chgData name="Khaled Azmi Alkurd" userId="S::kalkurd@gmu.edu::d8a8490c-4d79-451d-b1ff-270e6eecfde3" providerId="AD" clId="Web-{2AEF2DAD-A3D6-3E58-91C6-C99AE29EC2BB}" dt="2026-01-14T09:47:17.263" v="5"/>
        <pc:sldMkLst>
          <pc:docMk/>
          <pc:sldMk cId="1855807379" sldId="2147472437"/>
        </pc:sldMkLst>
      </pc:sldChg>
    </pc:docChg>
  </pc:docChgLst>
  <pc:docChgLst>
    <pc:chgData name="Yiguedan Andy Yaro" userId="S::yyaro@gmu.edu::0bc60cd9-ce11-4c17-b712-5d9396d74f80" providerId="AD" clId="Web-{28D8A0CD-2171-270A-2BBC-D25F5267CE6E}"/>
    <pc:docChg chg="modSld">
      <pc:chgData name="Yiguedan Andy Yaro" userId="S::yyaro@gmu.edu::0bc60cd9-ce11-4c17-b712-5d9396d74f80" providerId="AD" clId="Web-{28D8A0CD-2171-270A-2BBC-D25F5267CE6E}" dt="2026-01-15T10:43:39.048" v="316" actId="1076"/>
      <pc:docMkLst>
        <pc:docMk/>
      </pc:docMkLst>
      <pc:sldChg chg="addSp delSp modSp">
        <pc:chgData name="Yiguedan Andy Yaro" userId="S::yyaro@gmu.edu::0bc60cd9-ce11-4c17-b712-5d9396d74f80" providerId="AD" clId="Web-{28D8A0CD-2171-270A-2BBC-D25F5267CE6E}" dt="2026-01-15T10:43:39.048" v="316" actId="1076"/>
        <pc:sldMkLst>
          <pc:docMk/>
          <pc:sldMk cId="130524519" sldId="2147472458"/>
        </pc:sldMkLst>
        <pc:spChg chg="mod">
          <ac:chgData name="Yiguedan Andy Yaro" userId="S::yyaro@gmu.edu::0bc60cd9-ce11-4c17-b712-5d9396d74f80" providerId="AD" clId="Web-{28D8A0CD-2171-270A-2BBC-D25F5267CE6E}" dt="2026-01-15T08:26:12.048" v="260" actId="14100"/>
          <ac:spMkLst>
            <pc:docMk/>
            <pc:sldMk cId="130524519" sldId="2147472458"/>
            <ac:spMk id="5" creationId="{E733388A-93D8-A57E-6F8F-CC681F66078B}"/>
          </ac:spMkLst>
        </pc:spChg>
        <pc:spChg chg="mod">
          <ac:chgData name="Yiguedan Andy Yaro" userId="S::yyaro@gmu.edu::0bc60cd9-ce11-4c17-b712-5d9396d74f80" providerId="AD" clId="Web-{28D8A0CD-2171-270A-2BBC-D25F5267CE6E}" dt="2026-01-15T09:07:32.035" v="267" actId="1076"/>
          <ac:spMkLst>
            <pc:docMk/>
            <pc:sldMk cId="130524519" sldId="2147472458"/>
            <ac:spMk id="11" creationId="{2433E9E8-696D-3B1B-6000-63ACB20E8BD3}"/>
          </ac:spMkLst>
        </pc:spChg>
        <pc:spChg chg="mod">
          <ac:chgData name="Yiguedan Andy Yaro" userId="S::yyaro@gmu.edu::0bc60cd9-ce11-4c17-b712-5d9396d74f80" providerId="AD" clId="Web-{28D8A0CD-2171-270A-2BBC-D25F5267CE6E}" dt="2026-01-15T10:09:09.566" v="304" actId="20577"/>
          <ac:spMkLst>
            <pc:docMk/>
            <pc:sldMk cId="130524519" sldId="2147472458"/>
            <ac:spMk id="14" creationId="{485E4E46-63FB-95FB-2E71-4B2CBC23F82E}"/>
          </ac:spMkLst>
        </pc:spChg>
        <pc:spChg chg="mod">
          <ac:chgData name="Yiguedan Andy Yaro" userId="S::yyaro@gmu.edu::0bc60cd9-ce11-4c17-b712-5d9396d74f80" providerId="AD" clId="Web-{28D8A0CD-2171-270A-2BBC-D25F5267CE6E}" dt="2026-01-15T10:33:45.331" v="313" actId="20577"/>
          <ac:spMkLst>
            <pc:docMk/>
            <pc:sldMk cId="130524519" sldId="2147472458"/>
            <ac:spMk id="22" creationId="{611F2C84-CD97-FC10-DDAC-2D98405871BB}"/>
          </ac:spMkLst>
        </pc:spChg>
        <pc:spChg chg="mod">
          <ac:chgData name="Yiguedan Andy Yaro" userId="S::yyaro@gmu.edu::0bc60cd9-ce11-4c17-b712-5d9396d74f80" providerId="AD" clId="Web-{28D8A0CD-2171-270A-2BBC-D25F5267CE6E}" dt="2026-01-15T09:56:15.345" v="287" actId="20577"/>
          <ac:spMkLst>
            <pc:docMk/>
            <pc:sldMk cId="130524519" sldId="2147472458"/>
            <ac:spMk id="24" creationId="{3BD1E311-C89D-46DE-9F14-6B48620073B7}"/>
          </ac:spMkLst>
        </pc:spChg>
        <pc:spChg chg="mod">
          <ac:chgData name="Yiguedan Andy Yaro" userId="S::yyaro@gmu.edu::0bc60cd9-ce11-4c17-b712-5d9396d74f80" providerId="AD" clId="Web-{28D8A0CD-2171-270A-2BBC-D25F5267CE6E}" dt="2026-01-15T10:32:51.314" v="310" actId="20577"/>
          <ac:spMkLst>
            <pc:docMk/>
            <pc:sldMk cId="130524519" sldId="2147472458"/>
            <ac:spMk id="29" creationId="{9DFA7E82-F678-5E92-3415-CE2CBAE9F44A}"/>
          </ac:spMkLst>
        </pc:spChg>
        <pc:spChg chg="mod">
          <ac:chgData name="Yiguedan Andy Yaro" userId="S::yyaro@gmu.edu::0bc60cd9-ce11-4c17-b712-5d9396d74f80" providerId="AD" clId="Web-{28D8A0CD-2171-270A-2BBC-D25F5267CE6E}" dt="2026-01-15T09:59:48.742" v="297" actId="1076"/>
          <ac:spMkLst>
            <pc:docMk/>
            <pc:sldMk cId="130524519" sldId="2147472458"/>
            <ac:spMk id="35" creationId="{213553EC-39F1-1AFF-127D-04651BE38B5A}"/>
          </ac:spMkLst>
        </pc:spChg>
        <pc:spChg chg="mod">
          <ac:chgData name="Yiguedan Andy Yaro" userId="S::yyaro@gmu.edu::0bc60cd9-ce11-4c17-b712-5d9396d74f80" providerId="AD" clId="Web-{28D8A0CD-2171-270A-2BBC-D25F5267CE6E}" dt="2026-01-15T08:26:19.439" v="261" actId="1076"/>
          <ac:spMkLst>
            <pc:docMk/>
            <pc:sldMk cId="130524519" sldId="2147472458"/>
            <ac:spMk id="39" creationId="{CDFDB912-4ABC-E083-8072-74548A7F6C32}"/>
          </ac:spMkLst>
        </pc:spChg>
      </pc:sldChg>
    </pc:docChg>
  </pc:docChgLst>
  <pc:docChgLst>
    <pc:chgData name="Khaled Azmi Alkurd" userId="S::kalkurd@gmu.edu::d8a8490c-4d79-451d-b1ff-270e6eecfde3" providerId="AD" clId="Web-{B4447EF7-B584-5CE4-76AB-F6021753ABEB}"/>
    <pc:docChg chg="modSld">
      <pc:chgData name="Khaled Azmi Alkurd" userId="S::kalkurd@gmu.edu::d8a8490c-4d79-451d-b1ff-270e6eecfde3" providerId="AD" clId="Web-{B4447EF7-B584-5CE4-76AB-F6021753ABEB}" dt="2026-01-15T20:14:50.933" v="593"/>
      <pc:docMkLst>
        <pc:docMk/>
      </pc:docMkLst>
      <pc:sldChg chg="modNotes">
        <pc:chgData name="Khaled Azmi Alkurd" userId="S::kalkurd@gmu.edu::d8a8490c-4d79-451d-b1ff-270e6eecfde3" providerId="AD" clId="Web-{B4447EF7-B584-5CE4-76AB-F6021753ABEB}" dt="2026-01-15T20:10:45.756" v="577"/>
        <pc:sldMkLst>
          <pc:docMk/>
          <pc:sldMk cId="1069076631" sldId="2147471176"/>
        </pc:sldMkLst>
      </pc:sldChg>
      <pc:sldChg chg="modSp">
        <pc:chgData name="Khaled Azmi Alkurd" userId="S::kalkurd@gmu.edu::d8a8490c-4d79-451d-b1ff-270e6eecfde3" providerId="AD" clId="Web-{B4447EF7-B584-5CE4-76AB-F6021753ABEB}" dt="2026-01-15T19:45:05.851" v="268"/>
        <pc:sldMkLst>
          <pc:docMk/>
          <pc:sldMk cId="735017481" sldId="2147472448"/>
        </pc:sldMkLst>
        <pc:spChg chg="mod">
          <ac:chgData name="Khaled Azmi Alkurd" userId="S::kalkurd@gmu.edu::d8a8490c-4d79-451d-b1ff-270e6eecfde3" providerId="AD" clId="Web-{B4447EF7-B584-5CE4-76AB-F6021753ABEB}" dt="2026-01-15T19:44:58.257" v="256" actId="20577"/>
          <ac:spMkLst>
            <pc:docMk/>
            <pc:sldMk cId="735017481" sldId="2147472448"/>
            <ac:spMk id="12" creationId="{9265D1A0-45B5-E34A-D381-94FEA6590F3C}"/>
          </ac:spMkLst>
        </pc:spChg>
        <pc:graphicFrameChg chg="mod modGraphic">
          <ac:chgData name="Khaled Azmi Alkurd" userId="S::kalkurd@gmu.edu::d8a8490c-4d79-451d-b1ff-270e6eecfde3" providerId="AD" clId="Web-{B4447EF7-B584-5CE4-76AB-F6021753ABEB}" dt="2026-01-15T19:45:05.851" v="268"/>
          <ac:graphicFrameMkLst>
            <pc:docMk/>
            <pc:sldMk cId="735017481" sldId="2147472448"/>
            <ac:graphicFrameMk id="11" creationId="{D2DD68DC-0955-37FA-7DEF-C581C45D173A}"/>
          </ac:graphicFrameMkLst>
        </pc:graphicFrameChg>
      </pc:sldChg>
      <pc:sldChg chg="modSp">
        <pc:chgData name="Khaled Azmi Alkurd" userId="S::kalkurd@gmu.edu::d8a8490c-4d79-451d-b1ff-270e6eecfde3" providerId="AD" clId="Web-{B4447EF7-B584-5CE4-76AB-F6021753ABEB}" dt="2026-01-15T19:58:56.049" v="566" actId="20577"/>
        <pc:sldMkLst>
          <pc:docMk/>
          <pc:sldMk cId="114997428" sldId="2147472457"/>
        </pc:sldMkLst>
        <pc:spChg chg="mod">
          <ac:chgData name="Khaled Azmi Alkurd" userId="S::kalkurd@gmu.edu::d8a8490c-4d79-451d-b1ff-270e6eecfde3" providerId="AD" clId="Web-{B4447EF7-B584-5CE4-76AB-F6021753ABEB}" dt="2026-01-15T19:58:56.049" v="566" actId="20577"/>
          <ac:spMkLst>
            <pc:docMk/>
            <pc:sldMk cId="114997428" sldId="2147472457"/>
            <ac:spMk id="16" creationId="{8CB23EF8-200A-B022-1F2E-4FF31CCBCFE8}"/>
          </ac:spMkLst>
        </pc:spChg>
      </pc:sldChg>
      <pc:sldChg chg="modNotes">
        <pc:chgData name="Khaled Azmi Alkurd" userId="S::kalkurd@gmu.edu::d8a8490c-4d79-451d-b1ff-270e6eecfde3" providerId="AD" clId="Web-{B4447EF7-B584-5CE4-76AB-F6021753ABEB}" dt="2026-01-15T20:11:40.012" v="585"/>
        <pc:sldMkLst>
          <pc:docMk/>
          <pc:sldMk cId="705894713" sldId="2147472460"/>
        </pc:sldMkLst>
      </pc:sldChg>
      <pc:sldChg chg="addSp delSp modSp mod modShow modNotes">
        <pc:chgData name="Khaled Azmi Alkurd" userId="S::kalkurd@gmu.edu::d8a8490c-4d79-451d-b1ff-270e6eecfde3" providerId="AD" clId="Web-{B4447EF7-B584-5CE4-76AB-F6021753ABEB}" dt="2026-01-15T20:14:50.933" v="593"/>
        <pc:sldMkLst>
          <pc:docMk/>
          <pc:sldMk cId="2928388623" sldId="2147472461"/>
        </pc:sldMkLst>
        <pc:spChg chg="mod">
          <ac:chgData name="Khaled Azmi Alkurd" userId="S::kalkurd@gmu.edu::d8a8490c-4d79-451d-b1ff-270e6eecfde3" providerId="AD" clId="Web-{B4447EF7-B584-5CE4-76AB-F6021753ABEB}" dt="2026-01-15T19:24:58.604" v="95" actId="20577"/>
          <ac:spMkLst>
            <pc:docMk/>
            <pc:sldMk cId="2928388623" sldId="2147472461"/>
            <ac:spMk id="6" creationId="{8D296085-2750-C699-714F-86BB15647C4D}"/>
          </ac:spMkLst>
        </pc:spChg>
        <pc:spChg chg="mod">
          <ac:chgData name="Khaled Azmi Alkurd" userId="S::kalkurd@gmu.edu::d8a8490c-4d79-451d-b1ff-270e6eecfde3" providerId="AD" clId="Web-{B4447EF7-B584-5CE4-76AB-F6021753ABEB}" dt="2026-01-15T19:26:03.261" v="160" actId="1076"/>
          <ac:spMkLst>
            <pc:docMk/>
            <pc:sldMk cId="2928388623" sldId="2147472461"/>
            <ac:spMk id="7" creationId="{E9CFC2CB-7FFB-A283-705F-C0EC8EDC1BE6}"/>
          </ac:spMkLst>
        </pc:spChg>
        <pc:spChg chg="mod">
          <ac:chgData name="Khaled Azmi Alkurd" userId="S::kalkurd@gmu.edu::d8a8490c-4d79-451d-b1ff-270e6eecfde3" providerId="AD" clId="Web-{B4447EF7-B584-5CE4-76AB-F6021753ABEB}" dt="2026-01-15T20:04:45.277" v="569" actId="20577"/>
          <ac:spMkLst>
            <pc:docMk/>
            <pc:sldMk cId="2928388623" sldId="2147472461"/>
            <ac:spMk id="9" creationId="{24301C7B-A5C0-043E-6D30-39B40675ADA0}"/>
          </ac:spMkLst>
        </pc:spChg>
        <pc:spChg chg="add mod">
          <ac:chgData name="Khaled Azmi Alkurd" userId="S::kalkurd@gmu.edu::d8a8490c-4d79-451d-b1ff-270e6eecfde3" providerId="AD" clId="Web-{B4447EF7-B584-5CE4-76AB-F6021753ABEB}" dt="2026-01-15T19:45:45.213" v="271" actId="1076"/>
          <ac:spMkLst>
            <pc:docMk/>
            <pc:sldMk cId="2928388623" sldId="2147472461"/>
            <ac:spMk id="14" creationId="{E68201E8-0770-3558-3407-74644E66A78B}"/>
          </ac:spMkLst>
        </pc:spChg>
        <pc:graphicFrameChg chg="mod modGraphic">
          <ac:chgData name="Khaled Azmi Alkurd" userId="S::kalkurd@gmu.edu::d8a8490c-4d79-451d-b1ff-270e6eecfde3" providerId="AD" clId="Web-{B4447EF7-B584-5CE4-76AB-F6021753ABEB}" dt="2026-01-15T19:57:18.280" v="553"/>
          <ac:graphicFrameMkLst>
            <pc:docMk/>
            <pc:sldMk cId="2928388623" sldId="2147472461"/>
            <ac:graphicFrameMk id="10" creationId="{F1AA5DD3-518E-8669-D989-4D31316C7288}"/>
          </ac:graphicFrameMkLst>
        </pc:graphicFrameChg>
        <pc:picChg chg="add mod modCrop">
          <ac:chgData name="Khaled Azmi Alkurd" userId="S::kalkurd@gmu.edu::d8a8490c-4d79-451d-b1ff-270e6eecfde3" providerId="AD" clId="Web-{B4447EF7-B584-5CE4-76AB-F6021753ABEB}" dt="2026-01-15T19:45:45.197" v="270" actId="1076"/>
          <ac:picMkLst>
            <pc:docMk/>
            <pc:sldMk cId="2928388623" sldId="2147472461"/>
            <ac:picMk id="4" creationId="{C8932792-4B90-D7BE-337E-986670819B29}"/>
          </ac:picMkLst>
        </pc:picChg>
      </pc:sldChg>
    </pc:docChg>
  </pc:docChgLst>
  <pc:docChgLst>
    <pc:chgData name="Yiguedan Andy Yaro" userId="S::yyaro@gmu.edu::0bc60cd9-ce11-4c17-b712-5d9396d74f80" providerId="AD" clId="Web-{1F5116C5-CAE3-021A-349A-0862BE6F4FB4}"/>
    <pc:docChg chg="modSld">
      <pc:chgData name="Yiguedan Andy Yaro" userId="S::yyaro@gmu.edu::0bc60cd9-ce11-4c17-b712-5d9396d74f80" providerId="AD" clId="Web-{1F5116C5-CAE3-021A-349A-0862BE6F4FB4}" dt="2026-01-15T19:58:34.557" v="5" actId="20577"/>
      <pc:docMkLst>
        <pc:docMk/>
      </pc:docMkLst>
      <pc:sldChg chg="modSp">
        <pc:chgData name="Yiguedan Andy Yaro" userId="S::yyaro@gmu.edu::0bc60cd9-ce11-4c17-b712-5d9396d74f80" providerId="AD" clId="Web-{1F5116C5-CAE3-021A-349A-0862BE6F4FB4}" dt="2026-01-15T19:58:34.557" v="5" actId="20577"/>
        <pc:sldMkLst>
          <pc:docMk/>
          <pc:sldMk cId="130524519" sldId="2147472458"/>
        </pc:sldMkLst>
        <pc:spChg chg="mod">
          <ac:chgData name="Yiguedan Andy Yaro" userId="S::yyaro@gmu.edu::0bc60cd9-ce11-4c17-b712-5d9396d74f80" providerId="AD" clId="Web-{1F5116C5-CAE3-021A-349A-0862BE6F4FB4}" dt="2026-01-15T19:58:34.557" v="5" actId="20577"/>
          <ac:spMkLst>
            <pc:docMk/>
            <pc:sldMk cId="130524519" sldId="2147472458"/>
            <ac:spMk id="2" creationId="{69779B89-7393-A9FE-341F-D875A6690724}"/>
          </ac:spMkLst>
        </pc:spChg>
      </pc:sldChg>
    </pc:docChg>
  </pc:docChgLst>
  <pc:docChgLst>
    <pc:chgData name="Yiguedan Andy Yaro" userId="S::yyaro@gmu.edu::0bc60cd9-ce11-4c17-b712-5d9396d74f80" providerId="AD" clId="Web-{660CCFEC-AD81-FC31-5385-7370FA996139}"/>
    <pc:docChg chg="modSld">
      <pc:chgData name="Yiguedan Andy Yaro" userId="S::yyaro@gmu.edu::0bc60cd9-ce11-4c17-b712-5d9396d74f80" providerId="AD" clId="Web-{660CCFEC-AD81-FC31-5385-7370FA996139}" dt="2026-01-15T11:40:28.705" v="521" actId="1076"/>
      <pc:docMkLst>
        <pc:docMk/>
      </pc:docMkLst>
      <pc:sldChg chg="addSp modSp">
        <pc:chgData name="Yiguedan Andy Yaro" userId="S::yyaro@gmu.edu::0bc60cd9-ce11-4c17-b712-5d9396d74f80" providerId="AD" clId="Web-{660CCFEC-AD81-FC31-5385-7370FA996139}" dt="2026-01-15T11:40:28.705" v="521" actId="1076"/>
        <pc:sldMkLst>
          <pc:docMk/>
          <pc:sldMk cId="130524519" sldId="2147472458"/>
        </pc:sldMkLst>
        <pc:spChg chg="add mod">
          <ac:chgData name="Yiguedan Andy Yaro" userId="S::yyaro@gmu.edu::0bc60cd9-ce11-4c17-b712-5d9396d74f80" providerId="AD" clId="Web-{660CCFEC-AD81-FC31-5385-7370FA996139}" dt="2026-01-15T11:34:43.131" v="506" actId="20577"/>
          <ac:spMkLst>
            <pc:docMk/>
            <pc:sldMk cId="130524519" sldId="2147472458"/>
            <ac:spMk id="3" creationId="{42EFCBE7-2836-9EB4-E65B-015462867D68}"/>
          </ac:spMkLst>
        </pc:spChg>
      </pc:sldChg>
    </pc:docChg>
  </pc:docChgLst>
  <pc:docChgLst>
    <pc:chgData name="Khaled Azmi Alkurd" userId="S::kalkurd@gmu.edu::d8a8490c-4d79-451d-b1ff-270e6eecfde3" providerId="AD" clId="Web-{87FB0208-F17A-AE03-C35F-A1EBC3AA0452}"/>
    <pc:docChg chg="modSld">
      <pc:chgData name="Khaled Azmi Alkurd" userId="S::kalkurd@gmu.edu::d8a8490c-4d79-451d-b1ff-270e6eecfde3" providerId="AD" clId="Web-{87FB0208-F17A-AE03-C35F-A1EBC3AA0452}" dt="2026-01-14T22:49:32.317" v="336" actId="20577"/>
      <pc:docMkLst>
        <pc:docMk/>
      </pc:docMkLst>
      <pc:sldChg chg="modSp">
        <pc:chgData name="Khaled Azmi Alkurd" userId="S::kalkurd@gmu.edu::d8a8490c-4d79-451d-b1ff-270e6eecfde3" providerId="AD" clId="Web-{87FB0208-F17A-AE03-C35F-A1EBC3AA0452}" dt="2026-01-14T22:47:32.609" v="333" actId="20577"/>
        <pc:sldMkLst>
          <pc:docMk/>
          <pc:sldMk cId="3572240398" sldId="2147470985"/>
        </pc:sldMkLst>
        <pc:spChg chg="mod">
          <ac:chgData name="Khaled Azmi Alkurd" userId="S::kalkurd@gmu.edu::d8a8490c-4d79-451d-b1ff-270e6eecfde3" providerId="AD" clId="Web-{87FB0208-F17A-AE03-C35F-A1EBC3AA0452}" dt="2026-01-14T22:47:32.609" v="333" actId="20577"/>
          <ac:spMkLst>
            <pc:docMk/>
            <pc:sldMk cId="3572240398" sldId="2147470985"/>
            <ac:spMk id="320" creationId="{92174D91-76B0-EDC1-9A3F-F1700F10E936}"/>
          </ac:spMkLst>
        </pc:spChg>
        <pc:spChg chg="mod">
          <ac:chgData name="Khaled Azmi Alkurd" userId="S::kalkurd@gmu.edu::d8a8490c-4d79-451d-b1ff-270e6eecfde3" providerId="AD" clId="Web-{87FB0208-F17A-AE03-C35F-A1EBC3AA0452}" dt="2026-01-14T22:47:29.999" v="332" actId="20577"/>
          <ac:spMkLst>
            <pc:docMk/>
            <pc:sldMk cId="3572240398" sldId="2147470985"/>
            <ac:spMk id="336" creationId="{27BB8356-4377-E23A-57A9-5480FCF93D3F}"/>
          </ac:spMkLst>
        </pc:spChg>
      </pc:sldChg>
      <pc:sldChg chg="addSp delSp modSp">
        <pc:chgData name="Khaled Azmi Alkurd" userId="S::kalkurd@gmu.edu::d8a8490c-4d79-451d-b1ff-270e6eecfde3" providerId="AD" clId="Web-{87FB0208-F17A-AE03-C35F-A1EBC3AA0452}" dt="2026-01-14T22:35:55.202" v="252" actId="20577"/>
        <pc:sldMkLst>
          <pc:docMk/>
          <pc:sldMk cId="3176373537" sldId="2147472453"/>
        </pc:sldMkLst>
        <pc:spChg chg="mod">
          <ac:chgData name="Khaled Azmi Alkurd" userId="S::kalkurd@gmu.edu::d8a8490c-4d79-451d-b1ff-270e6eecfde3" providerId="AD" clId="Web-{87FB0208-F17A-AE03-C35F-A1EBC3AA0452}" dt="2026-01-14T22:35:55.202" v="252" actId="20577"/>
          <ac:spMkLst>
            <pc:docMk/>
            <pc:sldMk cId="3176373537" sldId="2147472453"/>
            <ac:spMk id="23" creationId="{38A7E6E9-EC8A-4CF5-B60E-7680F66CDEE3}"/>
          </ac:spMkLst>
        </pc:spChg>
      </pc:sldChg>
      <pc:sldChg chg="addSp modSp">
        <pc:chgData name="Khaled Azmi Alkurd" userId="S::kalkurd@gmu.edu::d8a8490c-4d79-451d-b1ff-270e6eecfde3" providerId="AD" clId="Web-{87FB0208-F17A-AE03-C35F-A1EBC3AA0452}" dt="2026-01-14T22:34:56.529" v="242" actId="20577"/>
        <pc:sldMkLst>
          <pc:docMk/>
          <pc:sldMk cId="114997428" sldId="2147472457"/>
        </pc:sldMkLst>
      </pc:sldChg>
    </pc:docChg>
  </pc:docChgLst>
  <pc:docChgLst>
    <pc:chgData name="Nikita Chandrasing" userId="S::nchandr3@gmu.edu::a6614213-6536-4d81-9686-55df5591b5b2" providerId="AD" clId="Web-{2DDCFB5B-706C-EF34-AD02-4F28210E6220}"/>
    <pc:docChg chg="addSld delSld modSld sldOrd">
      <pc:chgData name="Nikita Chandrasing" userId="S::nchandr3@gmu.edu::a6614213-6536-4d81-9686-55df5591b5b2" providerId="AD" clId="Web-{2DDCFB5B-706C-EF34-AD02-4F28210E6220}" dt="2026-01-15T01:42:48.210" v="739" actId="1076"/>
      <pc:docMkLst>
        <pc:docMk/>
      </pc:docMkLst>
      <pc:sldChg chg="delSp modSp ord">
        <pc:chgData name="Nikita Chandrasing" userId="S::nchandr3@gmu.edu::a6614213-6536-4d81-9686-55df5591b5b2" providerId="AD" clId="Web-{2DDCFB5B-706C-EF34-AD02-4F28210E6220}" dt="2026-01-14T22:06:25.730" v="350" actId="20577"/>
        <pc:sldMkLst>
          <pc:docMk/>
          <pc:sldMk cId="3176373537" sldId="2147472453"/>
        </pc:sldMkLst>
        <pc:spChg chg="mod">
          <ac:chgData name="Nikita Chandrasing" userId="S::nchandr3@gmu.edu::a6614213-6536-4d81-9686-55df5591b5b2" providerId="AD" clId="Web-{2DDCFB5B-706C-EF34-AD02-4F28210E6220}" dt="2026-01-14T22:02:06.600" v="234" actId="20577"/>
          <ac:spMkLst>
            <pc:docMk/>
            <pc:sldMk cId="3176373537" sldId="2147472453"/>
            <ac:spMk id="2" creationId="{4CE20F81-131E-B196-A7EE-400303228352}"/>
          </ac:spMkLst>
        </pc:spChg>
        <pc:spChg chg="mod">
          <ac:chgData name="Nikita Chandrasing" userId="S::nchandr3@gmu.edu::a6614213-6536-4d81-9686-55df5591b5b2" providerId="AD" clId="Web-{2DDCFB5B-706C-EF34-AD02-4F28210E6220}" dt="2026-01-14T18:38:56.034" v="190" actId="20577"/>
          <ac:spMkLst>
            <pc:docMk/>
            <pc:sldMk cId="3176373537" sldId="2147472453"/>
            <ac:spMk id="4" creationId="{680113E5-41A3-BF8F-E3DB-12D5FB0E2638}"/>
          </ac:spMkLst>
        </pc:spChg>
        <pc:spChg chg="mod">
          <ac:chgData name="Nikita Chandrasing" userId="S::nchandr3@gmu.edu::a6614213-6536-4d81-9686-55df5591b5b2" providerId="AD" clId="Web-{2DDCFB5B-706C-EF34-AD02-4F28210E6220}" dt="2026-01-14T21:58:30.461" v="222" actId="20577"/>
          <ac:spMkLst>
            <pc:docMk/>
            <pc:sldMk cId="3176373537" sldId="2147472453"/>
            <ac:spMk id="7" creationId="{AE1C7B14-783B-1E81-C63F-EB2A1128B9D6}"/>
          </ac:spMkLst>
        </pc:spChg>
        <pc:spChg chg="mod">
          <ac:chgData name="Nikita Chandrasing" userId="S::nchandr3@gmu.edu::a6614213-6536-4d81-9686-55df5591b5b2" providerId="AD" clId="Web-{2DDCFB5B-706C-EF34-AD02-4F28210E6220}" dt="2026-01-14T22:05:51.946" v="345" actId="20577"/>
          <ac:spMkLst>
            <pc:docMk/>
            <pc:sldMk cId="3176373537" sldId="2147472453"/>
            <ac:spMk id="9" creationId="{E489CBFA-0A42-999D-D9F7-D4DEC4FFA986}"/>
          </ac:spMkLst>
        </pc:spChg>
        <pc:spChg chg="mod">
          <ac:chgData name="Nikita Chandrasing" userId="S::nchandr3@gmu.edu::a6614213-6536-4d81-9686-55df5591b5b2" providerId="AD" clId="Web-{2DDCFB5B-706C-EF34-AD02-4F28210E6220}" dt="2026-01-14T22:04:43.111" v="309" actId="14100"/>
          <ac:spMkLst>
            <pc:docMk/>
            <pc:sldMk cId="3176373537" sldId="2147472453"/>
            <ac:spMk id="10" creationId="{924BCA6E-FEC6-FDDC-B438-2BE58B63045B}"/>
          </ac:spMkLst>
        </pc:spChg>
        <pc:spChg chg="mod">
          <ac:chgData name="Nikita Chandrasing" userId="S::nchandr3@gmu.edu::a6614213-6536-4d81-9686-55df5591b5b2" providerId="AD" clId="Web-{2DDCFB5B-706C-EF34-AD02-4F28210E6220}" dt="2026-01-14T22:03:25.682" v="296" actId="20577"/>
          <ac:spMkLst>
            <pc:docMk/>
            <pc:sldMk cId="3176373537" sldId="2147472453"/>
            <ac:spMk id="13" creationId="{3B0136D7-1DB7-7D6B-2527-227A816FEDA1}"/>
          </ac:spMkLst>
        </pc:spChg>
        <pc:spChg chg="mod">
          <ac:chgData name="Nikita Chandrasing" userId="S::nchandr3@gmu.edu::a6614213-6536-4d81-9686-55df5591b5b2" providerId="AD" clId="Web-{2DDCFB5B-706C-EF34-AD02-4F28210E6220}" dt="2026-01-14T19:48:23.916" v="196" actId="20577"/>
          <ac:spMkLst>
            <pc:docMk/>
            <pc:sldMk cId="3176373537" sldId="2147472453"/>
            <ac:spMk id="14" creationId="{674B8D39-EBFD-5EE5-EB42-4C0E3BBEB98A}"/>
          </ac:spMkLst>
        </pc:spChg>
        <pc:spChg chg="mod">
          <ac:chgData name="Nikita Chandrasing" userId="S::nchandr3@gmu.edu::a6614213-6536-4d81-9686-55df5591b5b2" providerId="AD" clId="Web-{2DDCFB5B-706C-EF34-AD02-4F28210E6220}" dt="2026-01-14T22:05:11.990" v="320" actId="20577"/>
          <ac:spMkLst>
            <pc:docMk/>
            <pc:sldMk cId="3176373537" sldId="2147472453"/>
            <ac:spMk id="15" creationId="{C9CD5679-4377-E44B-6A37-8D3941B40A60}"/>
          </ac:spMkLst>
        </pc:spChg>
        <pc:spChg chg="mod">
          <ac:chgData name="Nikita Chandrasing" userId="S::nchandr3@gmu.edu::a6614213-6536-4d81-9686-55df5591b5b2" providerId="AD" clId="Web-{2DDCFB5B-706C-EF34-AD02-4F28210E6220}" dt="2026-01-14T22:06:25.730" v="350" actId="20577"/>
          <ac:spMkLst>
            <pc:docMk/>
            <pc:sldMk cId="3176373537" sldId="2147472453"/>
            <ac:spMk id="16" creationId="{BBA673B9-77C3-00DC-C42E-2F91854ACEC7}"/>
          </ac:spMkLst>
        </pc:spChg>
        <pc:spChg chg="mod">
          <ac:chgData name="Nikita Chandrasing" userId="S::nchandr3@gmu.edu::a6614213-6536-4d81-9686-55df5591b5b2" providerId="AD" clId="Web-{2DDCFB5B-706C-EF34-AD02-4F28210E6220}" dt="2026-01-14T22:04:46.299" v="310" actId="14100"/>
          <ac:spMkLst>
            <pc:docMk/>
            <pc:sldMk cId="3176373537" sldId="2147472453"/>
            <ac:spMk id="20" creationId="{2BBCB55B-BD9C-F472-2BF6-802D14283B87}"/>
          </ac:spMkLst>
        </pc:spChg>
      </pc:sldChg>
      <pc:sldChg chg="addSp delSp modSp">
        <pc:chgData name="Nikita Chandrasing" userId="S::nchandr3@gmu.edu::a6614213-6536-4d81-9686-55df5591b5b2" providerId="AD" clId="Web-{2DDCFB5B-706C-EF34-AD02-4F28210E6220}" dt="2026-01-15T01:42:48.210" v="739" actId="1076"/>
        <pc:sldMkLst>
          <pc:docMk/>
          <pc:sldMk cId="2143509530" sldId="2147472455"/>
        </pc:sldMkLst>
        <pc:spChg chg="mod">
          <ac:chgData name="Nikita Chandrasing" userId="S::nchandr3@gmu.edu::a6614213-6536-4d81-9686-55df5591b5b2" providerId="AD" clId="Web-{2DDCFB5B-706C-EF34-AD02-4F28210E6220}" dt="2026-01-15T00:58:25.927" v="383" actId="20577"/>
          <ac:spMkLst>
            <pc:docMk/>
            <pc:sldMk cId="2143509530" sldId="2147472455"/>
            <ac:spMk id="2" creationId="{2307DBDE-42B6-1AC3-BD25-C992D0A8FA7F}"/>
          </ac:spMkLst>
        </pc:spChg>
        <pc:spChg chg="add mod">
          <ac:chgData name="Nikita Chandrasing" userId="S::nchandr3@gmu.edu::a6614213-6536-4d81-9686-55df5591b5b2" providerId="AD" clId="Web-{2DDCFB5B-706C-EF34-AD02-4F28210E6220}" dt="2026-01-15T01:42:40.897" v="738" actId="1076"/>
          <ac:spMkLst>
            <pc:docMk/>
            <pc:sldMk cId="2143509530" sldId="2147472455"/>
            <ac:spMk id="3" creationId="{9A2813D2-DB41-398B-C230-CAF012D68CBA}"/>
          </ac:spMkLst>
        </pc:spChg>
        <pc:spChg chg="add mod">
          <ac:chgData name="Nikita Chandrasing" userId="S::nchandr3@gmu.edu::a6614213-6536-4d81-9686-55df5591b5b2" providerId="AD" clId="Web-{2DDCFB5B-706C-EF34-AD02-4F28210E6220}" dt="2026-01-15T01:40:25.654" v="731" actId="1076"/>
          <ac:spMkLst>
            <pc:docMk/>
            <pc:sldMk cId="2143509530" sldId="2147472455"/>
            <ac:spMk id="7" creationId="{3817EC1C-4B4F-5789-634E-8E4DF5EC8819}"/>
          </ac:spMkLst>
        </pc:spChg>
        <pc:spChg chg="add mod">
          <ac:chgData name="Nikita Chandrasing" userId="S::nchandr3@gmu.edu::a6614213-6536-4d81-9686-55df5591b5b2" providerId="AD" clId="Web-{2DDCFB5B-706C-EF34-AD02-4F28210E6220}" dt="2026-01-15T01:42:40.850" v="736" actId="1076"/>
          <ac:spMkLst>
            <pc:docMk/>
            <pc:sldMk cId="2143509530" sldId="2147472455"/>
            <ac:spMk id="17" creationId="{699D3786-4EF6-3CD4-6FFE-B5A77D00BA78}"/>
          </ac:spMkLst>
        </pc:spChg>
        <pc:spChg chg="add mod">
          <ac:chgData name="Nikita Chandrasing" userId="S::nchandr3@gmu.edu::a6614213-6536-4d81-9686-55df5591b5b2" providerId="AD" clId="Web-{2DDCFB5B-706C-EF34-AD02-4F28210E6220}" dt="2026-01-15T01:42:40.881" v="737" actId="1076"/>
          <ac:spMkLst>
            <pc:docMk/>
            <pc:sldMk cId="2143509530" sldId="2147472455"/>
            <ac:spMk id="21" creationId="{FB8DE4AD-BB5A-AA3E-4E8B-4DFE4E9F9BBB}"/>
          </ac:spMkLst>
        </pc:spChg>
        <pc:cxnChg chg="add mod">
          <ac:chgData name="Nikita Chandrasing" userId="S::nchandr3@gmu.edu::a6614213-6536-4d81-9686-55df5591b5b2" providerId="AD" clId="Web-{2DDCFB5B-706C-EF34-AD02-4F28210E6220}" dt="2026-01-15T01:42:48.210" v="739" actId="1076"/>
          <ac:cxnSpMkLst>
            <pc:docMk/>
            <pc:sldMk cId="2143509530" sldId="2147472455"/>
            <ac:cxnSpMk id="6" creationId="{E9EB5320-E0B4-6462-7920-942706528B7F}"/>
          </ac:cxnSpMkLst>
        </pc:cxnChg>
      </pc:sldChg>
      <pc:sldChg chg="addSp delSp modSp add replId">
        <pc:chgData name="Nikita Chandrasing" userId="S::nchandr3@gmu.edu::a6614213-6536-4d81-9686-55df5591b5b2" providerId="AD" clId="Web-{2DDCFB5B-706C-EF34-AD02-4F28210E6220}" dt="2026-01-14T21:21:57.444" v="203"/>
        <pc:sldMkLst>
          <pc:docMk/>
          <pc:sldMk cId="114997428" sldId="2147472457"/>
        </pc:sldMkLst>
        <pc:spChg chg="mod">
          <ac:chgData name="Nikita Chandrasing" userId="S::nchandr3@gmu.edu::a6614213-6536-4d81-9686-55df5591b5b2" providerId="AD" clId="Web-{2DDCFB5B-706C-EF34-AD02-4F28210E6220}" dt="2026-01-14T09:58:06.258" v="17" actId="20577"/>
          <ac:spMkLst>
            <pc:docMk/>
            <pc:sldMk cId="114997428" sldId="2147472457"/>
            <ac:spMk id="2" creationId="{C7FC915B-47BF-C4A4-8F24-A629155E4FF9}"/>
          </ac:spMkLst>
        </pc:spChg>
        <pc:spChg chg="mod">
          <ac:chgData name="Nikita Chandrasing" userId="S::nchandr3@gmu.edu::a6614213-6536-4d81-9686-55df5591b5b2" providerId="AD" clId="Web-{2DDCFB5B-706C-EF34-AD02-4F28210E6220}" dt="2026-01-14T09:58:37.696" v="25" actId="20577"/>
          <ac:spMkLst>
            <pc:docMk/>
            <pc:sldMk cId="114997428" sldId="2147472457"/>
            <ac:spMk id="4" creationId="{F22B31C6-AE40-5222-05EC-F010F3444BD8}"/>
          </ac:spMkLst>
        </pc:spChg>
        <pc:spChg chg="mod">
          <ac:chgData name="Nikita Chandrasing" userId="S::nchandr3@gmu.edu::a6614213-6536-4d81-9686-55df5591b5b2" providerId="AD" clId="Web-{2DDCFB5B-706C-EF34-AD02-4F28210E6220}" dt="2026-01-14T10:26:16.122" v="50" actId="20577"/>
          <ac:spMkLst>
            <pc:docMk/>
            <pc:sldMk cId="114997428" sldId="2147472457"/>
            <ac:spMk id="7" creationId="{904EE5DF-252D-4B81-8626-BCD70C9A63E1}"/>
          </ac:spMkLst>
        </pc:spChg>
        <pc:spChg chg="mod">
          <ac:chgData name="Nikita Chandrasing" userId="S::nchandr3@gmu.edu::a6614213-6536-4d81-9686-55df5591b5b2" providerId="AD" clId="Web-{2DDCFB5B-706C-EF34-AD02-4F28210E6220}" dt="2026-01-14T10:35:04.385" v="114" actId="20577"/>
          <ac:spMkLst>
            <pc:docMk/>
            <pc:sldMk cId="114997428" sldId="2147472457"/>
            <ac:spMk id="9" creationId="{797D07D8-0414-2799-AF5B-1D7929F3CFEB}"/>
          </ac:spMkLst>
        </pc:spChg>
        <pc:spChg chg="mod">
          <ac:chgData name="Nikita Chandrasing" userId="S::nchandr3@gmu.edu::a6614213-6536-4d81-9686-55df5591b5b2" providerId="AD" clId="Web-{2DDCFB5B-706C-EF34-AD02-4F28210E6220}" dt="2026-01-14T10:36:18.168" v="132" actId="14100"/>
          <ac:spMkLst>
            <pc:docMk/>
            <pc:sldMk cId="114997428" sldId="2147472457"/>
            <ac:spMk id="10" creationId="{019A8CE3-57F6-9C71-C735-5140CEE5769F}"/>
          </ac:spMkLst>
        </pc:spChg>
        <pc:spChg chg="mod">
          <ac:chgData name="Nikita Chandrasing" userId="S::nchandr3@gmu.edu::a6614213-6536-4d81-9686-55df5591b5b2" providerId="AD" clId="Web-{2DDCFB5B-706C-EF34-AD02-4F28210E6220}" dt="2026-01-14T10:32:21.639" v="101" actId="20577"/>
          <ac:spMkLst>
            <pc:docMk/>
            <pc:sldMk cId="114997428" sldId="2147472457"/>
            <ac:spMk id="13" creationId="{9E35C518-6C0E-A38B-CBFC-4A31742F1C2B}"/>
          </ac:spMkLst>
        </pc:spChg>
        <pc:spChg chg="mod">
          <ac:chgData name="Nikita Chandrasing" userId="S::nchandr3@gmu.edu::a6614213-6536-4d81-9686-55df5591b5b2" providerId="AD" clId="Web-{2DDCFB5B-706C-EF34-AD02-4F28210E6220}" dt="2026-01-14T10:29:29.701" v="81" actId="20577"/>
          <ac:spMkLst>
            <pc:docMk/>
            <pc:sldMk cId="114997428" sldId="2147472457"/>
            <ac:spMk id="15" creationId="{36302CDA-6D31-ED44-A516-603E04E4F13A}"/>
          </ac:spMkLst>
        </pc:spChg>
        <pc:spChg chg="mod">
          <ac:chgData name="Nikita Chandrasing" userId="S::nchandr3@gmu.edu::a6614213-6536-4d81-9686-55df5591b5b2" providerId="AD" clId="Web-{2DDCFB5B-706C-EF34-AD02-4F28210E6220}" dt="2026-01-14T10:42:00.551" v="156" actId="20577"/>
          <ac:spMkLst>
            <pc:docMk/>
            <pc:sldMk cId="114997428" sldId="2147472457"/>
            <ac:spMk id="16" creationId="{8CB23EF8-200A-B022-1F2E-4FF31CCBCFE8}"/>
          </ac:spMkLst>
        </pc:spChg>
        <pc:spChg chg="mod">
          <ac:chgData name="Nikita Chandrasing" userId="S::nchandr3@gmu.edu::a6614213-6536-4d81-9686-55df5591b5b2" providerId="AD" clId="Web-{2DDCFB5B-706C-EF34-AD02-4F28210E6220}" dt="2026-01-14T10:36:11.512" v="131" actId="1076"/>
          <ac:spMkLst>
            <pc:docMk/>
            <pc:sldMk cId="114997428" sldId="2147472457"/>
            <ac:spMk id="20" creationId="{C9396294-CF6D-62BF-84B9-AFAC26BE5D2B}"/>
          </ac:spMkLst>
        </pc:spChg>
        <pc:picChg chg="add mod modCrop">
          <ac:chgData name="Nikita Chandrasing" userId="S::nchandr3@gmu.edu::a6614213-6536-4d81-9686-55df5591b5b2" providerId="AD" clId="Web-{2DDCFB5B-706C-EF34-AD02-4F28210E6220}" dt="2026-01-14T10:24:48.951" v="41" actId="1076"/>
          <ac:picMkLst>
            <pc:docMk/>
            <pc:sldMk cId="114997428" sldId="2147472457"/>
            <ac:picMk id="17" creationId="{95F6C898-A3A5-5DAB-2A75-A97A11F62F25}"/>
          </ac:picMkLst>
        </pc:picChg>
        <pc:cxnChg chg="mod">
          <ac:chgData name="Nikita Chandrasing" userId="S::nchandr3@gmu.edu::a6614213-6536-4d81-9686-55df5591b5b2" providerId="AD" clId="Web-{2DDCFB5B-706C-EF34-AD02-4F28210E6220}" dt="2026-01-14T10:31:37.920" v="93" actId="1076"/>
          <ac:cxnSpMkLst>
            <pc:docMk/>
            <pc:sldMk cId="114997428" sldId="2147472457"/>
            <ac:cxnSpMk id="11" creationId="{C8255222-327F-F540-F777-7E50D6EDC57F}"/>
          </ac:cxnSpMkLst>
        </pc:cxnChg>
      </pc:sldChg>
    </pc:docChg>
  </pc:docChgLst>
  <pc:docChgLst>
    <pc:chgData name="Khaled Azmi Alkurd" userId="S::kalkurd@gmu.edu::d8a8490c-4d79-451d-b1ff-270e6eecfde3" providerId="AD" clId="Web-{F27812AA-CB66-E997-318F-FB35186AA354}"/>
    <pc:docChg chg="modSld">
      <pc:chgData name="Khaled Azmi Alkurd" userId="S::kalkurd@gmu.edu::d8a8490c-4d79-451d-b1ff-270e6eecfde3" providerId="AD" clId="Web-{F27812AA-CB66-E997-318F-FB35186AA354}" dt="2026-01-15T19:15:15.535" v="153" actId="1076"/>
      <pc:docMkLst>
        <pc:docMk/>
      </pc:docMkLst>
      <pc:sldChg chg="mod modShow">
        <pc:chgData name="Khaled Azmi Alkurd" userId="S::kalkurd@gmu.edu::d8a8490c-4d79-451d-b1ff-270e6eecfde3" providerId="AD" clId="Web-{F27812AA-CB66-E997-318F-FB35186AA354}" dt="2026-01-15T19:01:04.256" v="103"/>
        <pc:sldMkLst>
          <pc:docMk/>
          <pc:sldMk cId="2143509530" sldId="2147472455"/>
        </pc:sldMkLst>
      </pc:sldChg>
      <pc:sldChg chg="addSp delSp modSp">
        <pc:chgData name="Khaled Azmi Alkurd" userId="S::kalkurd@gmu.edu::d8a8490c-4d79-451d-b1ff-270e6eecfde3" providerId="AD" clId="Web-{F27812AA-CB66-E997-318F-FB35186AA354}" dt="2026-01-15T19:00:34.458" v="101"/>
        <pc:sldMkLst>
          <pc:docMk/>
          <pc:sldMk cId="2928388623" sldId="2147472461"/>
        </pc:sldMkLst>
        <pc:spChg chg="mod">
          <ac:chgData name="Khaled Azmi Alkurd" userId="S::kalkurd@gmu.edu::d8a8490c-4d79-451d-b1ff-270e6eecfde3" providerId="AD" clId="Web-{F27812AA-CB66-E997-318F-FB35186AA354}" dt="2026-01-15T18:59:28.799" v="13" actId="20577"/>
          <ac:spMkLst>
            <pc:docMk/>
            <pc:sldMk cId="2928388623" sldId="2147472461"/>
            <ac:spMk id="2" creationId="{61A2B93A-2CF0-0FA4-B86A-0B2DE6A79AA8}"/>
          </ac:spMkLst>
        </pc:spChg>
        <pc:graphicFrameChg chg="mod modGraphic">
          <ac:chgData name="Khaled Azmi Alkurd" userId="S::kalkurd@gmu.edu::d8a8490c-4d79-451d-b1ff-270e6eecfde3" providerId="AD" clId="Web-{F27812AA-CB66-E997-318F-FB35186AA354}" dt="2026-01-15T19:00:34.458" v="101"/>
          <ac:graphicFrameMkLst>
            <pc:docMk/>
            <pc:sldMk cId="2928388623" sldId="2147472461"/>
            <ac:graphicFrameMk id="10" creationId="{F1AA5DD3-518E-8669-D989-4D31316C7288}"/>
          </ac:graphicFrameMkLst>
        </pc:graphicFrameChg>
      </pc:sldChg>
      <pc:sldChg chg="addSp delSp modSp mod modShow">
        <pc:chgData name="Khaled Azmi Alkurd" userId="S::kalkurd@gmu.edu::d8a8490c-4d79-451d-b1ff-270e6eecfde3" providerId="AD" clId="Web-{F27812AA-CB66-E997-318F-FB35186AA354}" dt="2026-01-15T19:15:15.535" v="153" actId="1076"/>
        <pc:sldMkLst>
          <pc:docMk/>
          <pc:sldMk cId="3444418906" sldId="2147472463"/>
        </pc:sldMkLst>
        <pc:spChg chg="mod">
          <ac:chgData name="Khaled Azmi Alkurd" userId="S::kalkurd@gmu.edu::d8a8490c-4d79-451d-b1ff-270e6eecfde3" providerId="AD" clId="Web-{F27812AA-CB66-E997-318F-FB35186AA354}" dt="2026-01-15T19:05:45.684" v="130" actId="1076"/>
          <ac:spMkLst>
            <pc:docMk/>
            <pc:sldMk cId="3444418906" sldId="2147472463"/>
            <ac:spMk id="4" creationId="{9D5E1988-9745-9FE0-299F-076AF362B7FF}"/>
          </ac:spMkLst>
        </pc:spChg>
        <pc:spChg chg="mod">
          <ac:chgData name="Khaled Azmi Alkurd" userId="S::kalkurd@gmu.edu::d8a8490c-4d79-451d-b1ff-270e6eecfde3" providerId="AD" clId="Web-{F27812AA-CB66-E997-318F-FB35186AA354}" dt="2026-01-15T19:05:51.356" v="131" actId="1076"/>
          <ac:spMkLst>
            <pc:docMk/>
            <pc:sldMk cId="3444418906" sldId="2147472463"/>
            <ac:spMk id="10" creationId="{628780ED-502C-93B4-C5AF-6ED82377B23D}"/>
          </ac:spMkLst>
        </pc:spChg>
        <pc:spChg chg="mod">
          <ac:chgData name="Khaled Azmi Alkurd" userId="S::kalkurd@gmu.edu::d8a8490c-4d79-451d-b1ff-270e6eecfde3" providerId="AD" clId="Web-{F27812AA-CB66-E997-318F-FB35186AA354}" dt="2026-01-15T19:05:54.200" v="132" actId="1076"/>
          <ac:spMkLst>
            <pc:docMk/>
            <pc:sldMk cId="3444418906" sldId="2147472463"/>
            <ac:spMk id="11" creationId="{6DD6E9A9-2914-42FB-5BA6-3B3CEE9CA955}"/>
          </ac:spMkLst>
        </pc:spChg>
        <pc:spChg chg="mod">
          <ac:chgData name="Khaled Azmi Alkurd" userId="S::kalkurd@gmu.edu::d8a8490c-4d79-451d-b1ff-270e6eecfde3" providerId="AD" clId="Web-{F27812AA-CB66-E997-318F-FB35186AA354}" dt="2026-01-15T19:03:53.588" v="115" actId="1076"/>
          <ac:spMkLst>
            <pc:docMk/>
            <pc:sldMk cId="3444418906" sldId="2147472463"/>
            <ac:spMk id="12" creationId="{4C11A0C3-B897-E3E0-7404-607DE2414430}"/>
          </ac:spMkLst>
        </pc:spChg>
        <pc:spChg chg="mod">
          <ac:chgData name="Khaled Azmi Alkurd" userId="S::kalkurd@gmu.edu::d8a8490c-4d79-451d-b1ff-270e6eecfde3" providerId="AD" clId="Web-{F27812AA-CB66-E997-318F-FB35186AA354}" dt="2026-01-15T19:05:58.450" v="133" actId="1076"/>
          <ac:spMkLst>
            <pc:docMk/>
            <pc:sldMk cId="3444418906" sldId="2147472463"/>
            <ac:spMk id="13" creationId="{49ABEC5D-B634-1BD1-689F-0F82AC8FF32B}"/>
          </ac:spMkLst>
        </pc:spChg>
        <pc:spChg chg="mod">
          <ac:chgData name="Khaled Azmi Alkurd" userId="S::kalkurd@gmu.edu::d8a8490c-4d79-451d-b1ff-270e6eecfde3" providerId="AD" clId="Web-{F27812AA-CB66-E997-318F-FB35186AA354}" dt="2026-01-15T19:03:54.698" v="117" actId="1076"/>
          <ac:spMkLst>
            <pc:docMk/>
            <pc:sldMk cId="3444418906" sldId="2147472463"/>
            <ac:spMk id="14" creationId="{E0F191CA-D39B-969A-735D-82861FFD9572}"/>
          </ac:spMkLst>
        </pc:spChg>
        <pc:spChg chg="mod">
          <ac:chgData name="Khaled Azmi Alkurd" userId="S::kalkurd@gmu.edu::d8a8490c-4d79-451d-b1ff-270e6eecfde3" providerId="AD" clId="Web-{F27812AA-CB66-E997-318F-FB35186AA354}" dt="2026-01-15T19:03:54.073" v="116" actId="1076"/>
          <ac:spMkLst>
            <pc:docMk/>
            <pc:sldMk cId="3444418906" sldId="2147472463"/>
            <ac:spMk id="18" creationId="{E4EB992F-A3CC-AAB0-EA47-D4813ABCA2FA}"/>
          </ac:spMkLst>
        </pc:spChg>
        <pc:spChg chg="mod">
          <ac:chgData name="Khaled Azmi Alkurd" userId="S::kalkurd@gmu.edu::d8a8490c-4d79-451d-b1ff-270e6eecfde3" providerId="AD" clId="Web-{F27812AA-CB66-E997-318F-FB35186AA354}" dt="2026-01-15T19:03:55.198" v="118" actId="1076"/>
          <ac:spMkLst>
            <pc:docMk/>
            <pc:sldMk cId="3444418906" sldId="2147472463"/>
            <ac:spMk id="19" creationId="{86A6E53F-0A2C-7707-4895-6FC67E67F03A}"/>
          </ac:spMkLst>
        </pc:spChg>
        <pc:grpChg chg="mod">
          <ac:chgData name="Khaled Azmi Alkurd" userId="S::kalkurd@gmu.edu::d8a8490c-4d79-451d-b1ff-270e6eecfde3" providerId="AD" clId="Web-{F27812AA-CB66-E997-318F-FB35186AA354}" dt="2026-01-15T19:06:57.826" v="143" actId="1076"/>
          <ac:grpSpMkLst>
            <pc:docMk/>
            <pc:sldMk cId="3444418906" sldId="2147472463"/>
            <ac:grpSpMk id="16" creationId="{EE573610-1C1D-1138-6982-B278D8FA0821}"/>
          </ac:grpSpMkLst>
        </pc:grpChg>
      </pc:sldChg>
    </pc:docChg>
  </pc:docChgLst>
  <pc:docChgLst>
    <pc:chgData name="Khaled Azmi Alkurd" userId="S::kalkurd@gmu.edu::d8a8490c-4d79-451d-b1ff-270e6eecfde3" providerId="AD" clId="Web-{6BC4E4F7-A23F-D2A5-014B-9C9281E98530}"/>
    <pc:docChg chg="addSld delSld modSld">
      <pc:chgData name="Khaled Azmi Alkurd" userId="S::kalkurd@gmu.edu::d8a8490c-4d79-451d-b1ff-270e6eecfde3" providerId="AD" clId="Web-{6BC4E4F7-A23F-D2A5-014B-9C9281E98530}" dt="2026-01-15T09:27:57.296" v="309"/>
      <pc:docMkLst>
        <pc:docMk/>
      </pc:docMkLst>
      <pc:sldChg chg="addSp delSp modSp add replId">
        <pc:chgData name="Khaled Azmi Alkurd" userId="S::kalkurd@gmu.edu::d8a8490c-4d79-451d-b1ff-270e6eecfde3" providerId="AD" clId="Web-{6BC4E4F7-A23F-D2A5-014B-9C9281E98530}" dt="2026-01-15T09:27:57.296" v="309"/>
        <pc:sldMkLst>
          <pc:docMk/>
          <pc:sldMk cId="705894713" sldId="2147472460"/>
        </pc:sldMkLst>
        <pc:spChg chg="mod">
          <ac:chgData name="Khaled Azmi Alkurd" userId="S::kalkurd@gmu.edu::d8a8490c-4d79-451d-b1ff-270e6eecfde3" providerId="AD" clId="Web-{6BC4E4F7-A23F-D2A5-014B-9C9281E98530}" dt="2026-01-15T08:55:37.775" v="285" actId="20577"/>
          <ac:spMkLst>
            <pc:docMk/>
            <pc:sldMk cId="705894713" sldId="2147472460"/>
            <ac:spMk id="2" creationId="{B3028877-013B-3F7A-FCFC-40432FCD2E4E}"/>
          </ac:spMkLst>
        </pc:spChg>
        <pc:spChg chg="add mod">
          <ac:chgData name="Khaled Azmi Alkurd" userId="S::kalkurd@gmu.edu::d8a8490c-4d79-451d-b1ff-270e6eecfde3" providerId="AD" clId="Web-{6BC4E4F7-A23F-D2A5-014B-9C9281E98530}" dt="2026-01-15T08:41:35.971" v="270"/>
          <ac:spMkLst>
            <pc:docMk/>
            <pc:sldMk cId="705894713" sldId="2147472460"/>
            <ac:spMk id="3" creationId="{7A1AFB3C-C1BD-F2B1-C20E-1F4521921958}"/>
          </ac:spMkLst>
        </pc:spChg>
        <pc:spChg chg="mod">
          <ac:chgData name="Khaled Azmi Alkurd" userId="S::kalkurd@gmu.edu::d8a8490c-4d79-451d-b1ff-270e6eecfde3" providerId="AD" clId="Web-{6BC4E4F7-A23F-D2A5-014B-9C9281E98530}" dt="2026-01-15T08:24:12.557" v="253" actId="1076"/>
          <ac:spMkLst>
            <pc:docMk/>
            <pc:sldMk cId="705894713" sldId="2147472460"/>
            <ac:spMk id="9" creationId="{7F4DB9AE-171B-1701-9CAA-DE2FF94E8775}"/>
          </ac:spMkLst>
        </pc:spChg>
        <pc:spChg chg="add mod">
          <ac:chgData name="Khaled Azmi Alkurd" userId="S::kalkurd@gmu.edu::d8a8490c-4d79-451d-b1ff-270e6eecfde3" providerId="AD" clId="Web-{6BC4E4F7-A23F-D2A5-014B-9C9281E98530}" dt="2026-01-15T08:41:35.971" v="271"/>
          <ac:spMkLst>
            <pc:docMk/>
            <pc:sldMk cId="705894713" sldId="2147472460"/>
            <ac:spMk id="10" creationId="{13807FE8-6CD8-BFD1-5079-432576C516A6}"/>
          </ac:spMkLst>
        </pc:spChg>
        <pc:spChg chg="mod ord">
          <ac:chgData name="Khaled Azmi Alkurd" userId="S::kalkurd@gmu.edu::d8a8490c-4d79-451d-b1ff-270e6eecfde3" providerId="AD" clId="Web-{6BC4E4F7-A23F-D2A5-014B-9C9281E98530}" dt="2026-01-15T08:41:43.846" v="276" actId="14100"/>
          <ac:spMkLst>
            <pc:docMk/>
            <pc:sldMk cId="705894713" sldId="2147472460"/>
            <ac:spMk id="11" creationId="{C5B741A2-0B0B-B0EF-46D4-9A147570FA41}"/>
          </ac:spMkLst>
        </pc:spChg>
        <pc:spChg chg="mod">
          <ac:chgData name="Khaled Azmi Alkurd" userId="S::kalkurd@gmu.edu::d8a8490c-4d79-451d-b1ff-270e6eecfde3" providerId="AD" clId="Web-{6BC4E4F7-A23F-D2A5-014B-9C9281E98530}" dt="2026-01-15T08:46:19.531" v="284" actId="20577"/>
          <ac:spMkLst>
            <pc:docMk/>
            <pc:sldMk cId="705894713" sldId="2147472460"/>
            <ac:spMk id="15" creationId="{18A4D76A-ED80-0010-B71A-78EADED2F9F3}"/>
          </ac:spMkLst>
        </pc:spChg>
        <pc:spChg chg="add mod">
          <ac:chgData name="Khaled Azmi Alkurd" userId="S::kalkurd@gmu.edu::d8a8490c-4d79-451d-b1ff-270e6eecfde3" providerId="AD" clId="Web-{6BC4E4F7-A23F-D2A5-014B-9C9281E98530}" dt="2026-01-15T08:41:35.971" v="272"/>
          <ac:spMkLst>
            <pc:docMk/>
            <pc:sldMk cId="705894713" sldId="2147472460"/>
            <ac:spMk id="17" creationId="{A43DC206-1887-30E7-BE1B-651B8E110F74}"/>
          </ac:spMkLst>
        </pc:spChg>
        <pc:spChg chg="add mod">
          <ac:chgData name="Khaled Azmi Alkurd" userId="S::kalkurd@gmu.edu::d8a8490c-4d79-451d-b1ff-270e6eecfde3" providerId="AD" clId="Web-{6BC4E4F7-A23F-D2A5-014B-9C9281E98530}" dt="2026-01-15T08:41:35.971" v="273"/>
          <ac:spMkLst>
            <pc:docMk/>
            <pc:sldMk cId="705894713" sldId="2147472460"/>
            <ac:spMk id="18" creationId="{AE5D41E4-80D3-0A3E-6386-6413A8411506}"/>
          </ac:spMkLst>
        </pc:spChg>
        <pc:spChg chg="add mod">
          <ac:chgData name="Khaled Azmi Alkurd" userId="S::kalkurd@gmu.edu::d8a8490c-4d79-451d-b1ff-270e6eecfde3" providerId="AD" clId="Web-{6BC4E4F7-A23F-D2A5-014B-9C9281E98530}" dt="2026-01-15T08:41:35.971" v="274"/>
          <ac:spMkLst>
            <pc:docMk/>
            <pc:sldMk cId="705894713" sldId="2147472460"/>
            <ac:spMk id="19" creationId="{A188C192-6ECB-4007-6E71-97014CCE3E10}"/>
          </ac:spMkLst>
        </pc:spChg>
        <pc:spChg chg="add mod">
          <ac:chgData name="Khaled Azmi Alkurd" userId="S::kalkurd@gmu.edu::d8a8490c-4d79-451d-b1ff-270e6eecfde3" providerId="AD" clId="Web-{6BC4E4F7-A23F-D2A5-014B-9C9281E98530}" dt="2026-01-15T08:41:36.127" v="275"/>
          <ac:spMkLst>
            <pc:docMk/>
            <pc:sldMk cId="705894713" sldId="2147472460"/>
            <ac:spMk id="20" creationId="{ED5202CF-4F26-418D-7E9E-3DBAC6A30564}"/>
          </ac:spMkLst>
        </pc:spChg>
        <pc:spChg chg="mod">
          <ac:chgData name="Khaled Azmi Alkurd" userId="S::kalkurd@gmu.edu::d8a8490c-4d79-451d-b1ff-270e6eecfde3" providerId="AD" clId="Web-{6BC4E4F7-A23F-D2A5-014B-9C9281E98530}" dt="2026-01-15T08:41:35.971" v="268"/>
          <ac:spMkLst>
            <pc:docMk/>
            <pc:sldMk cId="705894713" sldId="2147472460"/>
            <ac:spMk id="26" creationId="{ECC05F92-0E30-49B0-5647-1E3D0D813FAD}"/>
          </ac:spMkLst>
        </pc:spChg>
        <pc:spChg chg="mod">
          <ac:chgData name="Khaled Azmi Alkurd" userId="S::kalkurd@gmu.edu::d8a8490c-4d79-451d-b1ff-270e6eecfde3" providerId="AD" clId="Web-{6BC4E4F7-A23F-D2A5-014B-9C9281E98530}" dt="2026-01-15T08:41:35.971" v="269"/>
          <ac:spMkLst>
            <pc:docMk/>
            <pc:sldMk cId="705894713" sldId="2147472460"/>
            <ac:spMk id="27" creationId="{D02CD3C1-8762-B700-38FB-9C7D8D8968D3}"/>
          </ac:spMkLst>
        </pc:spChg>
        <pc:picChg chg="mod">
          <ac:chgData name="Khaled Azmi Alkurd" userId="S::kalkurd@gmu.edu::d8a8490c-4d79-451d-b1ff-270e6eecfde3" providerId="AD" clId="Web-{6BC4E4F7-A23F-D2A5-014B-9C9281E98530}" dt="2026-01-15T08:12:03.297" v="175" actId="1076"/>
          <ac:picMkLst>
            <pc:docMk/>
            <pc:sldMk cId="705894713" sldId="2147472460"/>
            <ac:picMk id="6" creationId="{AEEA97CA-7405-A436-D706-4E95FE1EF38D}"/>
          </ac:picMkLst>
        </pc:picChg>
        <pc:picChg chg="mod modCrop">
          <ac:chgData name="Khaled Azmi Alkurd" userId="S::kalkurd@gmu.edu::d8a8490c-4d79-451d-b1ff-270e6eecfde3" providerId="AD" clId="Web-{6BC4E4F7-A23F-D2A5-014B-9C9281E98530}" dt="2026-01-15T08:22:11.508" v="245"/>
          <ac:picMkLst>
            <pc:docMk/>
            <pc:sldMk cId="705894713" sldId="2147472460"/>
            <ac:picMk id="16" creationId="{EE085BD1-6BCF-8FEC-8729-A199A89C99AB}"/>
          </ac:picMkLst>
        </pc:picChg>
        <pc:picChg chg="add mod modCrop">
          <ac:chgData name="Khaled Azmi Alkurd" userId="S::kalkurd@gmu.edu::d8a8490c-4d79-451d-b1ff-270e6eecfde3" providerId="AD" clId="Web-{6BC4E4F7-A23F-D2A5-014B-9C9281E98530}" dt="2026-01-15T08:22:41.821" v="251" actId="1076"/>
          <ac:picMkLst>
            <pc:docMk/>
            <pc:sldMk cId="705894713" sldId="2147472460"/>
            <ac:picMk id="21" creationId="{BDDDDD8F-E51A-D9A1-A608-4B59740C444C}"/>
          </ac:picMkLst>
        </pc:picChg>
        <pc:picChg chg="add mod modCrop">
          <ac:chgData name="Khaled Azmi Alkurd" userId="S::kalkurd@gmu.edu::d8a8490c-4d79-451d-b1ff-270e6eecfde3" providerId="AD" clId="Web-{6BC4E4F7-A23F-D2A5-014B-9C9281E98530}" dt="2026-01-15T09:27:57.296" v="309"/>
          <ac:picMkLst>
            <pc:docMk/>
            <pc:sldMk cId="705894713" sldId="2147472460"/>
            <ac:picMk id="23" creationId="{B1DA0EF6-CDCA-3CF3-64B8-A54163DDE4CD}"/>
          </ac:picMkLst>
        </pc:picChg>
      </pc:sldChg>
    </pc:docChg>
  </pc:docChgLst>
  <pc:docChgLst>
    <pc:chgData name="Lakshmi Pranavi Doodala" userId="S::ldoodala@gmu.edu::e83b3efd-028e-479f-903f-2182a0b2285c" providerId="AD" clId="Web-{82B453F7-9FE7-60BC-E716-D1815A575D80}"/>
    <pc:docChg chg="modSld">
      <pc:chgData name="Lakshmi Pranavi Doodala" userId="S::ldoodala@gmu.edu::e83b3efd-028e-479f-903f-2182a0b2285c" providerId="AD" clId="Web-{82B453F7-9FE7-60BC-E716-D1815A575D80}" dt="2026-01-14T02:35:22.874" v="58"/>
      <pc:docMkLst>
        <pc:docMk/>
      </pc:docMkLst>
      <pc:sldChg chg="modSp">
        <pc:chgData name="Lakshmi Pranavi Doodala" userId="S::ldoodala@gmu.edu::e83b3efd-028e-479f-903f-2182a0b2285c" providerId="AD" clId="Web-{82B453F7-9FE7-60BC-E716-D1815A575D80}" dt="2026-01-14T02:14:14.924" v="10" actId="20577"/>
        <pc:sldMkLst>
          <pc:docMk/>
          <pc:sldMk cId="3176373537" sldId="2147472453"/>
        </pc:sldMkLst>
        <pc:spChg chg="mod">
          <ac:chgData name="Lakshmi Pranavi Doodala" userId="S::ldoodala@gmu.edu::e83b3efd-028e-479f-903f-2182a0b2285c" providerId="AD" clId="Web-{82B453F7-9FE7-60BC-E716-D1815A575D80}" dt="2026-01-14T02:14:14.924" v="10" actId="20577"/>
          <ac:spMkLst>
            <pc:docMk/>
            <pc:sldMk cId="3176373537" sldId="2147472453"/>
            <ac:spMk id="2" creationId="{4CE20F81-131E-B196-A7EE-400303228352}"/>
          </ac:spMkLst>
        </pc:spChg>
      </pc:sldChg>
      <pc:sldChg chg="modSp modNotes">
        <pc:chgData name="Lakshmi Pranavi Doodala" userId="S::ldoodala@gmu.edu::e83b3efd-028e-479f-903f-2182a0b2285c" providerId="AD" clId="Web-{82B453F7-9FE7-60BC-E716-D1815A575D80}" dt="2026-01-14T02:35:10.983" v="48"/>
        <pc:sldMkLst>
          <pc:docMk/>
          <pc:sldMk cId="2143509530" sldId="2147472455"/>
        </pc:sldMkLst>
        <pc:spChg chg="mod">
          <ac:chgData name="Lakshmi Pranavi Doodala" userId="S::ldoodala@gmu.edu::e83b3efd-028e-479f-903f-2182a0b2285c" providerId="AD" clId="Web-{82B453F7-9FE7-60BC-E716-D1815A575D80}" dt="2026-01-14T02:15:59.597" v="30" actId="20577"/>
          <ac:spMkLst>
            <pc:docMk/>
            <pc:sldMk cId="2143509530" sldId="2147472455"/>
            <ac:spMk id="2" creationId="{2307DBDE-42B6-1AC3-BD25-C992D0A8FA7F}"/>
          </ac:spMkLst>
        </pc:spChg>
      </pc:sldChg>
    </pc:docChg>
  </pc:docChgLst>
  <pc:docChgLst>
    <pc:chgData name="Khaled Azmi Alkurd" userId="S::kalkurd@gmu.edu::d8a8490c-4d79-451d-b1ff-270e6eecfde3" providerId="AD" clId="Web-{B89463AA-88F3-F26C-3475-E9A06F000E97}"/>
    <pc:docChg chg="modSld">
      <pc:chgData name="Khaled Azmi Alkurd" userId="S::kalkurd@gmu.edu::d8a8490c-4d79-451d-b1ff-270e6eecfde3" providerId="AD" clId="Web-{B89463AA-88F3-F26C-3475-E9A06F000E97}" dt="2026-01-17T08:10:53.300" v="48" actId="1076"/>
      <pc:docMkLst>
        <pc:docMk/>
      </pc:docMkLst>
      <pc:sldChg chg="modSp">
        <pc:chgData name="Khaled Azmi Alkurd" userId="S::kalkurd@gmu.edu::d8a8490c-4d79-451d-b1ff-270e6eecfde3" providerId="AD" clId="Web-{B89463AA-88F3-F26C-3475-E9A06F000E97}" dt="2026-01-17T08:08:38.340" v="16" actId="20577"/>
        <pc:sldMkLst>
          <pc:docMk/>
          <pc:sldMk cId="158379550" sldId="2305"/>
        </pc:sldMkLst>
        <pc:spChg chg="mod">
          <ac:chgData name="Khaled Azmi Alkurd" userId="S::kalkurd@gmu.edu::d8a8490c-4d79-451d-b1ff-270e6eecfde3" providerId="AD" clId="Web-{B89463AA-88F3-F26C-3475-E9A06F000E97}" dt="2026-01-17T08:08:38.340" v="16" actId="20577"/>
          <ac:spMkLst>
            <pc:docMk/>
            <pc:sldMk cId="158379550" sldId="2305"/>
            <ac:spMk id="15" creationId="{FAE75441-B241-979C-E020-D7F482215BE9}"/>
          </ac:spMkLst>
        </pc:spChg>
      </pc:sldChg>
      <pc:sldChg chg="modSp">
        <pc:chgData name="Khaled Azmi Alkurd" userId="S::kalkurd@gmu.edu::d8a8490c-4d79-451d-b1ff-270e6eecfde3" providerId="AD" clId="Web-{B89463AA-88F3-F26C-3475-E9A06F000E97}" dt="2026-01-17T08:07:27.534" v="0" actId="20577"/>
        <pc:sldMkLst>
          <pc:docMk/>
          <pc:sldMk cId="1069076631" sldId="2147471176"/>
        </pc:sldMkLst>
        <pc:spChg chg="mod">
          <ac:chgData name="Khaled Azmi Alkurd" userId="S::kalkurd@gmu.edu::d8a8490c-4d79-451d-b1ff-270e6eecfde3" providerId="AD" clId="Web-{B89463AA-88F3-F26C-3475-E9A06F000E97}" dt="2026-01-17T08:07:27.534" v="0" actId="20577"/>
          <ac:spMkLst>
            <pc:docMk/>
            <pc:sldMk cId="1069076631" sldId="2147471176"/>
            <ac:spMk id="30" creationId="{CA5DD52D-8105-0622-54D5-DC35D7378356}"/>
          </ac:spMkLst>
        </pc:spChg>
      </pc:sldChg>
      <pc:sldChg chg="modSp">
        <pc:chgData name="Khaled Azmi Alkurd" userId="S::kalkurd@gmu.edu::d8a8490c-4d79-451d-b1ff-270e6eecfde3" providerId="AD" clId="Web-{B89463AA-88F3-F26C-3475-E9A06F000E97}" dt="2026-01-17T08:09:19.969" v="41" actId="20577"/>
        <pc:sldMkLst>
          <pc:docMk/>
          <pc:sldMk cId="72761488" sldId="2147472462"/>
        </pc:sldMkLst>
        <pc:spChg chg="mod">
          <ac:chgData name="Khaled Azmi Alkurd" userId="S::kalkurd@gmu.edu::d8a8490c-4d79-451d-b1ff-270e6eecfde3" providerId="AD" clId="Web-{B89463AA-88F3-F26C-3475-E9A06F000E97}" dt="2026-01-17T08:09:19.969" v="41" actId="20577"/>
          <ac:spMkLst>
            <pc:docMk/>
            <pc:sldMk cId="72761488" sldId="2147472462"/>
            <ac:spMk id="9" creationId="{C70C1763-2B6C-2E7C-877E-34F47BB455E4}"/>
          </ac:spMkLst>
        </pc:spChg>
      </pc:sldChg>
      <pc:sldChg chg="addSp delSp modSp">
        <pc:chgData name="Khaled Azmi Alkurd" userId="S::kalkurd@gmu.edu::d8a8490c-4d79-451d-b1ff-270e6eecfde3" providerId="AD" clId="Web-{B89463AA-88F3-F26C-3475-E9A06F000E97}" dt="2026-01-17T08:10:53.300" v="48" actId="1076"/>
        <pc:sldMkLst>
          <pc:docMk/>
          <pc:sldMk cId="3444418906" sldId="2147472463"/>
        </pc:sldMkLst>
        <pc:picChg chg="add mod">
          <ac:chgData name="Khaled Azmi Alkurd" userId="S::kalkurd@gmu.edu::d8a8490c-4d79-451d-b1ff-270e6eecfde3" providerId="AD" clId="Web-{B89463AA-88F3-F26C-3475-E9A06F000E97}" dt="2026-01-17T08:10:53.300" v="48" actId="1076"/>
          <ac:picMkLst>
            <pc:docMk/>
            <pc:sldMk cId="3444418906" sldId="2147472463"/>
            <ac:picMk id="3" creationId="{6CB51E73-AE14-7FBE-358A-438179B83BC7}"/>
          </ac:picMkLst>
        </pc:picChg>
        <pc:picChg chg="del">
          <ac:chgData name="Khaled Azmi Alkurd" userId="S::kalkurd@gmu.edu::d8a8490c-4d79-451d-b1ff-270e6eecfde3" providerId="AD" clId="Web-{B89463AA-88F3-F26C-3475-E9A06F000E97}" dt="2026-01-17T08:10:34.769" v="42"/>
          <ac:picMkLst>
            <pc:docMk/>
            <pc:sldMk cId="3444418906" sldId="2147472463"/>
            <ac:picMk id="21" creationId="{DCF1F403-455B-7AFB-5142-5D9CB428D181}"/>
          </ac:picMkLst>
        </pc:picChg>
      </pc:sldChg>
    </pc:docChg>
  </pc:docChgLst>
  <pc:docChgLst>
    <pc:chgData name="Khaled Azmi Alkurd" userId="S::kalkurd@gmu.edu::d8a8490c-4d79-451d-b1ff-270e6eecfde3" providerId="AD" clId="Web-{818E7A2C-48D1-29D8-009D-FE8F5B7CA49E}"/>
    <pc:docChg chg="mod addSld delSld modSld sldOrd modMainMaster">
      <pc:chgData name="Khaled Azmi Alkurd" userId="S::kalkurd@gmu.edu::d8a8490c-4d79-451d-b1ff-270e6eecfde3" providerId="AD" clId="Web-{818E7A2C-48D1-29D8-009D-FE8F5B7CA49E}" dt="2026-01-12T10:31:05.090" v="817"/>
      <pc:docMkLst>
        <pc:docMk/>
      </pc:docMkLst>
      <pc:sldChg chg="addSp modSp">
        <pc:chgData name="Khaled Azmi Alkurd" userId="S::kalkurd@gmu.edu::d8a8490c-4d79-451d-b1ff-270e6eecfde3" providerId="AD" clId="Web-{818E7A2C-48D1-29D8-009D-FE8F5B7CA49E}" dt="2026-01-12T10:05:59.567" v="119" actId="20577"/>
        <pc:sldMkLst>
          <pc:docMk/>
          <pc:sldMk cId="2579588639" sldId="293"/>
        </pc:sldMkLst>
        <pc:spChg chg="add mod">
          <ac:chgData name="Khaled Azmi Alkurd" userId="S::kalkurd@gmu.edu::d8a8490c-4d79-451d-b1ff-270e6eecfde3" providerId="AD" clId="Web-{818E7A2C-48D1-29D8-009D-FE8F5B7CA49E}" dt="2026-01-12T10:02:03.293" v="22" actId="1076"/>
          <ac:spMkLst>
            <pc:docMk/>
            <pc:sldMk cId="2579588639" sldId="293"/>
            <ac:spMk id="2" creationId="{438B2E2C-1C55-0D57-C7FD-6236507D8BB5}"/>
          </ac:spMkLst>
        </pc:spChg>
        <pc:spChg chg="add mod">
          <ac:chgData name="Khaled Azmi Alkurd" userId="S::kalkurd@gmu.edu::d8a8490c-4d79-451d-b1ff-270e6eecfde3" providerId="AD" clId="Web-{818E7A2C-48D1-29D8-009D-FE8F5B7CA49E}" dt="2026-01-12T10:05:59.567" v="119" actId="20577"/>
          <ac:spMkLst>
            <pc:docMk/>
            <pc:sldMk cId="2579588639" sldId="293"/>
            <ac:spMk id="3" creationId="{4FA2E13C-38B3-E72E-8D88-7A29223EFF13}"/>
          </ac:spMkLst>
        </pc:spChg>
        <pc:spChg chg="mod">
          <ac:chgData name="Khaled Azmi Alkurd" userId="S::kalkurd@gmu.edu::d8a8490c-4d79-451d-b1ff-270e6eecfde3" providerId="AD" clId="Web-{818E7A2C-48D1-29D8-009D-FE8F5B7CA49E}" dt="2026-01-12T10:03:16.156" v="41" actId="20577"/>
          <ac:spMkLst>
            <pc:docMk/>
            <pc:sldMk cId="2579588639" sldId="293"/>
            <ac:spMk id="185" creationId="{00000000-0000-0000-0000-000000000000}"/>
          </ac:spMkLst>
        </pc:spChg>
        <pc:spChg chg="mod">
          <ac:chgData name="Khaled Azmi Alkurd" userId="S::kalkurd@gmu.edu::d8a8490c-4d79-451d-b1ff-270e6eecfde3" providerId="AD" clId="Web-{818E7A2C-48D1-29D8-009D-FE8F5B7CA49E}" dt="2026-01-12T10:04:09.470" v="65" actId="14100"/>
          <ac:spMkLst>
            <pc:docMk/>
            <pc:sldMk cId="2579588639" sldId="293"/>
            <ac:spMk id="187" creationId="{00000000-0000-0000-0000-000000000000}"/>
          </ac:spMkLst>
        </pc:spChg>
      </pc:sldChg>
      <pc:sldChg chg="addSp delSp modSp mod setBg">
        <pc:chgData name="Khaled Azmi Alkurd" userId="S::kalkurd@gmu.edu::d8a8490c-4d79-451d-b1ff-270e6eecfde3" providerId="AD" clId="Web-{818E7A2C-48D1-29D8-009D-FE8F5B7CA49E}" dt="2026-01-12T10:22:15.707" v="647" actId="20577"/>
        <pc:sldMkLst>
          <pc:docMk/>
          <pc:sldMk cId="3246686144" sldId="2147471452"/>
        </pc:sldMkLst>
        <pc:spChg chg="add mod">
          <ac:chgData name="Khaled Azmi Alkurd" userId="S::kalkurd@gmu.edu::d8a8490c-4d79-451d-b1ff-270e6eecfde3" providerId="AD" clId="Web-{818E7A2C-48D1-29D8-009D-FE8F5B7CA49E}" dt="2026-01-12T10:19:08.106" v="495" actId="20577"/>
          <ac:spMkLst>
            <pc:docMk/>
            <pc:sldMk cId="3246686144" sldId="2147471452"/>
            <ac:spMk id="4" creationId="{8AF5173F-5F9C-4B2A-6690-36ED35745210}"/>
          </ac:spMkLst>
        </pc:spChg>
        <pc:spChg chg="mod">
          <ac:chgData name="Khaled Azmi Alkurd" userId="S::kalkurd@gmu.edu::d8a8490c-4d79-451d-b1ff-270e6eecfde3" providerId="AD" clId="Web-{818E7A2C-48D1-29D8-009D-FE8F5B7CA49E}" dt="2026-01-12T10:12:23.026" v="210" actId="1076"/>
          <ac:spMkLst>
            <pc:docMk/>
            <pc:sldMk cId="3246686144" sldId="2147471452"/>
            <ac:spMk id="6" creationId="{4A690E94-3404-4288-03BC-C5BCD9961FEE}"/>
          </ac:spMkLst>
        </pc:spChg>
        <pc:spChg chg="add mod ord">
          <ac:chgData name="Khaled Azmi Alkurd" userId="S::kalkurd@gmu.edu::d8a8490c-4d79-451d-b1ff-270e6eecfde3" providerId="AD" clId="Web-{818E7A2C-48D1-29D8-009D-FE8F5B7CA49E}" dt="2026-01-12T10:12:47.683" v="214" actId="1076"/>
          <ac:spMkLst>
            <pc:docMk/>
            <pc:sldMk cId="3246686144" sldId="2147471452"/>
            <ac:spMk id="7" creationId="{D7E4287A-8993-805B-081F-0E4D01412C2A}"/>
          </ac:spMkLst>
        </pc:spChg>
        <pc:spChg chg="add mod">
          <ac:chgData name="Khaled Azmi Alkurd" userId="S::kalkurd@gmu.edu::d8a8490c-4d79-451d-b1ff-270e6eecfde3" providerId="AD" clId="Web-{818E7A2C-48D1-29D8-009D-FE8F5B7CA49E}" dt="2026-01-12T10:16:48.269" v="274" actId="20577"/>
          <ac:spMkLst>
            <pc:docMk/>
            <pc:sldMk cId="3246686144" sldId="2147471452"/>
            <ac:spMk id="9" creationId="{37DFDA01-422F-D1FD-25DB-17D039D993EF}"/>
          </ac:spMkLst>
        </pc:spChg>
        <pc:spChg chg="add mod">
          <ac:chgData name="Khaled Azmi Alkurd" userId="S::kalkurd@gmu.edu::d8a8490c-4d79-451d-b1ff-270e6eecfde3" providerId="AD" clId="Web-{818E7A2C-48D1-29D8-009D-FE8F5B7CA49E}" dt="2026-01-12T10:21:01.657" v="559" actId="20577"/>
          <ac:spMkLst>
            <pc:docMk/>
            <pc:sldMk cId="3246686144" sldId="2147471452"/>
            <ac:spMk id="11" creationId="{7716B454-535C-E895-2F6C-69CF88A9E79E}"/>
          </ac:spMkLst>
        </pc:spChg>
        <pc:spChg chg="add mod">
          <ac:chgData name="Khaled Azmi Alkurd" userId="S::kalkurd@gmu.edu::d8a8490c-4d79-451d-b1ff-270e6eecfde3" providerId="AD" clId="Web-{818E7A2C-48D1-29D8-009D-FE8F5B7CA49E}" dt="2026-01-12T10:21:57.409" v="616" actId="20577"/>
          <ac:spMkLst>
            <pc:docMk/>
            <pc:sldMk cId="3246686144" sldId="2147471452"/>
            <ac:spMk id="13" creationId="{373482E9-0E15-1874-20D5-A0FA3F891CC3}"/>
          </ac:spMkLst>
        </pc:spChg>
        <pc:spChg chg="add mod">
          <ac:chgData name="Khaled Azmi Alkurd" userId="S::kalkurd@gmu.edu::d8a8490c-4d79-451d-b1ff-270e6eecfde3" providerId="AD" clId="Web-{818E7A2C-48D1-29D8-009D-FE8F5B7CA49E}" dt="2026-01-12T10:14:41.219" v="236" actId="1076"/>
          <ac:spMkLst>
            <pc:docMk/>
            <pc:sldMk cId="3246686144" sldId="2147471452"/>
            <ac:spMk id="15" creationId="{31029DB3-5F43-46FD-2CC6-B32B961D071B}"/>
          </ac:spMkLst>
        </pc:spChg>
        <pc:spChg chg="add mod">
          <ac:chgData name="Khaled Azmi Alkurd" userId="S::kalkurd@gmu.edu::d8a8490c-4d79-451d-b1ff-270e6eecfde3" providerId="AD" clId="Web-{818E7A2C-48D1-29D8-009D-FE8F5B7CA49E}" dt="2026-01-12T10:22:11.300" v="646" actId="20577"/>
          <ac:spMkLst>
            <pc:docMk/>
            <pc:sldMk cId="3246686144" sldId="2147471452"/>
            <ac:spMk id="17" creationId="{376B1505-D9A0-AA14-3DBA-5E8D18C4E527}"/>
          </ac:spMkLst>
        </pc:spChg>
        <pc:spChg chg="add mod">
          <ac:chgData name="Khaled Azmi Alkurd" userId="S::kalkurd@gmu.edu::d8a8490c-4d79-451d-b1ff-270e6eecfde3" providerId="AD" clId="Web-{818E7A2C-48D1-29D8-009D-FE8F5B7CA49E}" dt="2026-01-12T10:21:05.564" v="560" actId="20577"/>
          <ac:spMkLst>
            <pc:docMk/>
            <pc:sldMk cId="3246686144" sldId="2147471452"/>
            <ac:spMk id="19" creationId="{B3242CC5-6649-DED9-AEDD-2D260F631E2E}"/>
          </ac:spMkLst>
        </pc:spChg>
        <pc:spChg chg="add mod">
          <ac:chgData name="Khaled Azmi Alkurd" userId="S::kalkurd@gmu.edu::d8a8490c-4d79-451d-b1ff-270e6eecfde3" providerId="AD" clId="Web-{818E7A2C-48D1-29D8-009D-FE8F5B7CA49E}" dt="2026-01-12T10:17:58.102" v="393" actId="20577"/>
          <ac:spMkLst>
            <pc:docMk/>
            <pc:sldMk cId="3246686144" sldId="2147471452"/>
            <ac:spMk id="21" creationId="{7DEAEC9E-6F95-63B7-5D6E-FF4AC17C7134}"/>
          </ac:spMkLst>
        </pc:spChg>
        <pc:spChg chg="add mod">
          <ac:chgData name="Khaled Azmi Alkurd" userId="S::kalkurd@gmu.edu::d8a8490c-4d79-451d-b1ff-270e6eecfde3" providerId="AD" clId="Web-{818E7A2C-48D1-29D8-009D-FE8F5B7CA49E}" dt="2026-01-12T10:15:09.767" v="256" actId="1076"/>
          <ac:spMkLst>
            <pc:docMk/>
            <pc:sldMk cId="3246686144" sldId="2147471452"/>
            <ac:spMk id="23" creationId="{776A580A-2BBA-0C6C-5B14-DB436DE2A87C}"/>
          </ac:spMkLst>
        </pc:spChg>
        <pc:spChg chg="add mod">
          <ac:chgData name="Khaled Azmi Alkurd" userId="S::kalkurd@gmu.edu::d8a8490c-4d79-451d-b1ff-270e6eecfde3" providerId="AD" clId="Web-{818E7A2C-48D1-29D8-009D-FE8F5B7CA49E}" dt="2026-01-12T10:22:15.707" v="647" actId="20577"/>
          <ac:spMkLst>
            <pc:docMk/>
            <pc:sldMk cId="3246686144" sldId="2147471452"/>
            <ac:spMk id="25" creationId="{9A663CB6-1C24-D4E7-AFB0-65866BE3F43B}"/>
          </ac:spMkLst>
        </pc:spChg>
        <pc:spChg chg="add mod">
          <ac:chgData name="Khaled Azmi Alkurd" userId="S::kalkurd@gmu.edu::d8a8490c-4d79-451d-b1ff-270e6eecfde3" providerId="AD" clId="Web-{818E7A2C-48D1-29D8-009D-FE8F5B7CA49E}" dt="2026-01-12T10:19:58.968" v="555" actId="20577"/>
          <ac:spMkLst>
            <pc:docMk/>
            <pc:sldMk cId="3246686144" sldId="2147471452"/>
            <ac:spMk id="27" creationId="{3DB68407-4176-EA82-8579-D944E7E7F84D}"/>
          </ac:spMkLst>
        </pc:spChg>
        <pc:spChg chg="add mod">
          <ac:chgData name="Khaled Azmi Alkurd" userId="S::kalkurd@gmu.edu::d8a8490c-4d79-451d-b1ff-270e6eecfde3" providerId="AD" clId="Web-{818E7A2C-48D1-29D8-009D-FE8F5B7CA49E}" dt="2026-01-12T10:19:12.731" v="503" actId="20577"/>
          <ac:spMkLst>
            <pc:docMk/>
            <pc:sldMk cId="3246686144" sldId="2147471452"/>
            <ac:spMk id="29" creationId="{6C42F0C2-86A3-12E4-7A35-C4CED0EDBB87}"/>
          </ac:spMkLst>
        </pc:spChg>
        <pc:spChg chg="add mod">
          <ac:chgData name="Khaled Azmi Alkurd" userId="S::kalkurd@gmu.edu::d8a8490c-4d79-451d-b1ff-270e6eecfde3" providerId="AD" clId="Web-{818E7A2C-48D1-29D8-009D-FE8F5B7CA49E}" dt="2026-01-12T10:19:05.340" v="494" actId="1076"/>
          <ac:spMkLst>
            <pc:docMk/>
            <pc:sldMk cId="3246686144" sldId="2147471452"/>
            <ac:spMk id="31" creationId="{32682E78-9335-E26F-12BF-883C765ED549}"/>
          </ac:spMkLst>
        </pc:spChg>
      </pc:sldChg>
      <pc:sldChg chg="addSp delSp modSp add ord replId">
        <pc:chgData name="Khaled Azmi Alkurd" userId="S::kalkurd@gmu.edu::d8a8490c-4d79-451d-b1ff-270e6eecfde3" providerId="AD" clId="Web-{818E7A2C-48D1-29D8-009D-FE8F5B7CA49E}" dt="2026-01-12T10:29:16.386" v="811"/>
        <pc:sldMkLst>
          <pc:docMk/>
          <pc:sldMk cId="3720278267" sldId="2147471455"/>
        </pc:sldMkLst>
        <pc:spChg chg="mod">
          <ac:chgData name="Khaled Azmi Alkurd" userId="S::kalkurd@gmu.edu::d8a8490c-4d79-451d-b1ff-270e6eecfde3" providerId="AD" clId="Web-{818E7A2C-48D1-29D8-009D-FE8F5B7CA49E}" dt="2026-01-12T10:24:18.319" v="654" actId="20577"/>
          <ac:spMkLst>
            <pc:docMk/>
            <pc:sldMk cId="3720278267" sldId="2147471455"/>
            <ac:spMk id="2" creationId="{C88FED43-621D-8095-6A1E-FDD35DE4742C}"/>
          </ac:spMkLst>
        </pc:spChg>
        <pc:spChg chg="mod">
          <ac:chgData name="Khaled Azmi Alkurd" userId="S::kalkurd@gmu.edu::d8a8490c-4d79-451d-b1ff-270e6eecfde3" providerId="AD" clId="Web-{818E7A2C-48D1-29D8-009D-FE8F5B7CA49E}" dt="2026-01-12T10:24:23.631" v="659" actId="20577"/>
          <ac:spMkLst>
            <pc:docMk/>
            <pc:sldMk cId="3720278267" sldId="2147471455"/>
            <ac:spMk id="4" creationId="{2A117F0D-C362-9AF1-6126-E696D0CEFDBD}"/>
          </ac:spMkLst>
        </pc:spChg>
        <pc:spChg chg="add mod">
          <ac:chgData name="Khaled Azmi Alkurd" userId="S::kalkurd@gmu.edu::d8a8490c-4d79-451d-b1ff-270e6eecfde3" providerId="AD" clId="Web-{818E7A2C-48D1-29D8-009D-FE8F5B7CA49E}" dt="2026-01-12T10:26:11.602" v="715" actId="1076"/>
          <ac:spMkLst>
            <pc:docMk/>
            <pc:sldMk cId="3720278267" sldId="2147471455"/>
            <ac:spMk id="6" creationId="{13892457-AE0D-D268-68A4-5677515A98F7}"/>
          </ac:spMkLst>
        </pc:spChg>
        <pc:spChg chg="mod">
          <ac:chgData name="Khaled Azmi Alkurd" userId="S::kalkurd@gmu.edu::d8a8490c-4d79-451d-b1ff-270e6eecfde3" providerId="AD" clId="Web-{818E7A2C-48D1-29D8-009D-FE8F5B7CA49E}" dt="2026-01-12T10:24:31.632" v="670" actId="20577"/>
          <ac:spMkLst>
            <pc:docMk/>
            <pc:sldMk cId="3720278267" sldId="2147471455"/>
            <ac:spMk id="7" creationId="{0F244115-B961-2B2E-3DC5-85CBA79A3816}"/>
          </ac:spMkLst>
        </pc:spChg>
        <pc:spChg chg="mod">
          <ac:chgData name="Khaled Azmi Alkurd" userId="S::kalkurd@gmu.edu::d8a8490c-4d79-451d-b1ff-270e6eecfde3" providerId="AD" clId="Web-{818E7A2C-48D1-29D8-009D-FE8F5B7CA49E}" dt="2026-01-12T10:24:36.944" v="672" actId="20577"/>
          <ac:spMkLst>
            <pc:docMk/>
            <pc:sldMk cId="3720278267" sldId="2147471455"/>
            <ac:spMk id="9" creationId="{C7CE4533-7A11-391B-E9DF-ABE5FB74CA5D}"/>
          </ac:spMkLst>
        </pc:spChg>
        <pc:spChg chg="mod">
          <ac:chgData name="Khaled Azmi Alkurd" userId="S::kalkurd@gmu.edu::d8a8490c-4d79-451d-b1ff-270e6eecfde3" providerId="AD" clId="Web-{818E7A2C-48D1-29D8-009D-FE8F5B7CA49E}" dt="2026-01-12T10:29:10.011" v="810" actId="1076"/>
          <ac:spMkLst>
            <pc:docMk/>
            <pc:sldMk cId="3720278267" sldId="2147471455"/>
            <ac:spMk id="12" creationId="{4D01A05B-461E-251D-777C-598A626808C7}"/>
          </ac:spMkLst>
        </pc:spChg>
        <pc:spChg chg="mod">
          <ac:chgData name="Khaled Azmi Alkurd" userId="S::kalkurd@gmu.edu::d8a8490c-4d79-451d-b1ff-270e6eecfde3" providerId="AD" clId="Web-{818E7A2C-48D1-29D8-009D-FE8F5B7CA49E}" dt="2026-01-12T10:25:05.867" v="703" actId="20577"/>
          <ac:spMkLst>
            <pc:docMk/>
            <pc:sldMk cId="3720278267" sldId="2147471455"/>
            <ac:spMk id="14" creationId="{6D153E6D-74E4-1FCF-0ED3-6871874D8FD6}"/>
          </ac:spMkLst>
        </pc:spChg>
        <pc:spChg chg="mod">
          <ac:chgData name="Khaled Azmi Alkurd" userId="S::kalkurd@gmu.edu::d8a8490c-4d79-451d-b1ff-270e6eecfde3" providerId="AD" clId="Web-{818E7A2C-48D1-29D8-009D-FE8F5B7CA49E}" dt="2026-01-12T10:26:55.431" v="753" actId="20577"/>
          <ac:spMkLst>
            <pc:docMk/>
            <pc:sldMk cId="3720278267" sldId="2147471455"/>
            <ac:spMk id="15" creationId="{C14C08D9-CCEF-2276-0FEC-4440EBA8EDC9}"/>
          </ac:spMkLst>
        </pc:spChg>
        <pc:spChg chg="mod">
          <ac:chgData name="Khaled Azmi Alkurd" userId="S::kalkurd@gmu.edu::d8a8490c-4d79-451d-b1ff-270e6eecfde3" providerId="AD" clId="Web-{818E7A2C-48D1-29D8-009D-FE8F5B7CA49E}" dt="2026-01-12T10:27:14.697" v="774" actId="20577"/>
          <ac:spMkLst>
            <pc:docMk/>
            <pc:sldMk cId="3720278267" sldId="2147471455"/>
            <ac:spMk id="16" creationId="{5BDEA917-94A5-D4AD-C2B8-719462008E64}"/>
          </ac:spMkLst>
        </pc:spChg>
        <pc:spChg chg="add mod">
          <ac:chgData name="Khaled Azmi Alkurd" userId="S::kalkurd@gmu.edu::d8a8490c-4d79-451d-b1ff-270e6eecfde3" providerId="AD" clId="Web-{818E7A2C-48D1-29D8-009D-FE8F5B7CA49E}" dt="2026-01-12T10:28:46.917" v="805" actId="20577"/>
          <ac:spMkLst>
            <pc:docMk/>
            <pc:sldMk cId="3720278267" sldId="2147471455"/>
            <ac:spMk id="22" creationId="{ADB3FB28-9674-0AAE-90F2-B73A67E7812A}"/>
          </ac:spMkLst>
        </pc:spChg>
      </pc:sldChg>
      <pc:sldMasterChg chg="modSp mod modSldLayout">
        <pc:chgData name="Khaled Azmi Alkurd" userId="S::kalkurd@gmu.edu::d8a8490c-4d79-451d-b1ff-270e6eecfde3" providerId="AD" clId="Web-{818E7A2C-48D1-29D8-009D-FE8F5B7CA49E}" dt="2026-01-12T10:31:05.090" v="817"/>
        <pc:sldMasterMkLst>
          <pc:docMk/>
          <pc:sldMasterMk cId="2460954070" sldId="2147483660"/>
        </pc:sldMasterMkLst>
        <pc:spChg chg="mod">
          <ac:chgData name="Khaled Azmi Alkurd" userId="S::kalkurd@gmu.edu::d8a8490c-4d79-451d-b1ff-270e6eecfde3" providerId="AD" clId="Web-{818E7A2C-48D1-29D8-009D-FE8F5B7CA49E}" dt="2026-01-12T10:30:52.121" v="814"/>
          <ac:spMkLst>
            <pc:docMk/>
            <pc:sldMasterMk cId="2460954070" sldId="2147483660"/>
            <ac:spMk id="5" creationId="{00000000-0000-0000-0000-000000000000}"/>
          </ac:spMkLst>
        </pc:sp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2385387890" sldId="2147483661"/>
          </pc:sldLayoutMkLst>
          <pc:spChg chg="mod">
            <ac:chgData name="Khaled Azmi Alkurd" userId="S::kalkurd@gmu.edu::d8a8490c-4d79-451d-b1ff-270e6eecfde3" providerId="AD" clId="Web-{818E7A2C-48D1-29D8-009D-FE8F5B7CA49E}" dt="2026-01-12T10:30:52.121" v="814"/>
            <ac:spMkLst>
              <pc:docMk/>
              <pc:sldMasterMk cId="2460954070" sldId="2147483660"/>
              <pc:sldLayoutMk cId="2385387890" sldId="2147483661"/>
              <ac:spMk id="5"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949138452" sldId="2147483662"/>
          </pc:sldLayoutMkLst>
          <pc:spChg chg="mod">
            <ac:chgData name="Khaled Azmi Alkurd" userId="S::kalkurd@gmu.edu::d8a8490c-4d79-451d-b1ff-270e6eecfde3" providerId="AD" clId="Web-{818E7A2C-48D1-29D8-009D-FE8F5B7CA49E}" dt="2026-01-12T10:30:52.121" v="814"/>
            <ac:spMkLst>
              <pc:docMk/>
              <pc:sldMasterMk cId="2460954070" sldId="2147483660"/>
              <pc:sldLayoutMk cId="949138452" sldId="2147483662"/>
              <ac:spMk id="5"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2591524520" sldId="2147483663"/>
          </pc:sldLayoutMkLst>
          <pc:spChg chg="mod">
            <ac:chgData name="Khaled Azmi Alkurd" userId="S::kalkurd@gmu.edu::d8a8490c-4d79-451d-b1ff-270e6eecfde3" providerId="AD" clId="Web-{818E7A2C-48D1-29D8-009D-FE8F5B7CA49E}" dt="2026-01-12T10:30:52.121" v="814"/>
            <ac:spMkLst>
              <pc:docMk/>
              <pc:sldMasterMk cId="2460954070" sldId="2147483660"/>
              <pc:sldLayoutMk cId="2591524520" sldId="2147483663"/>
              <ac:spMk id="5"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1203092039" sldId="2147483664"/>
          </pc:sldLayoutMkLst>
          <pc:spChg chg="mod">
            <ac:chgData name="Khaled Azmi Alkurd" userId="S::kalkurd@gmu.edu::d8a8490c-4d79-451d-b1ff-270e6eecfde3" providerId="AD" clId="Web-{818E7A2C-48D1-29D8-009D-FE8F5B7CA49E}" dt="2026-01-12T10:30:52.121" v="814"/>
            <ac:spMkLst>
              <pc:docMk/>
              <pc:sldMasterMk cId="2460954070" sldId="2147483660"/>
              <pc:sldLayoutMk cId="1203092039" sldId="2147483664"/>
              <ac:spMk id="6"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3733172339" sldId="2147483665"/>
          </pc:sldLayoutMkLst>
          <pc:spChg chg="mod">
            <ac:chgData name="Khaled Azmi Alkurd" userId="S::kalkurd@gmu.edu::d8a8490c-4d79-451d-b1ff-270e6eecfde3" providerId="AD" clId="Web-{818E7A2C-48D1-29D8-009D-FE8F5B7CA49E}" dt="2026-01-12T10:30:52.121" v="814"/>
            <ac:spMkLst>
              <pc:docMk/>
              <pc:sldMasterMk cId="2460954070" sldId="2147483660"/>
              <pc:sldLayoutMk cId="3733172339" sldId="2147483665"/>
              <ac:spMk id="8"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3210312558" sldId="2147483666"/>
          </pc:sldLayoutMkLst>
          <pc:spChg chg="mod">
            <ac:chgData name="Khaled Azmi Alkurd" userId="S::kalkurd@gmu.edu::d8a8490c-4d79-451d-b1ff-270e6eecfde3" providerId="AD" clId="Web-{818E7A2C-48D1-29D8-009D-FE8F5B7CA49E}" dt="2026-01-12T10:30:52.121" v="814"/>
            <ac:spMkLst>
              <pc:docMk/>
              <pc:sldMasterMk cId="2460954070" sldId="2147483660"/>
              <pc:sldLayoutMk cId="3210312558" sldId="2147483666"/>
              <ac:spMk id="4"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3146388984" sldId="2147483667"/>
          </pc:sldLayoutMkLst>
          <pc:spChg chg="mod">
            <ac:chgData name="Khaled Azmi Alkurd" userId="S::kalkurd@gmu.edu::d8a8490c-4d79-451d-b1ff-270e6eecfde3" providerId="AD" clId="Web-{818E7A2C-48D1-29D8-009D-FE8F5B7CA49E}" dt="2026-01-12T10:30:52.121" v="814"/>
            <ac:spMkLst>
              <pc:docMk/>
              <pc:sldMasterMk cId="2460954070" sldId="2147483660"/>
              <pc:sldLayoutMk cId="3146388984" sldId="2147483667"/>
              <ac:spMk id="3"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3171841454" sldId="2147483668"/>
          </pc:sldLayoutMkLst>
          <pc:spChg chg="mod">
            <ac:chgData name="Khaled Azmi Alkurd" userId="S::kalkurd@gmu.edu::d8a8490c-4d79-451d-b1ff-270e6eecfde3" providerId="AD" clId="Web-{818E7A2C-48D1-29D8-009D-FE8F5B7CA49E}" dt="2026-01-12T10:30:52.121" v="814"/>
            <ac:spMkLst>
              <pc:docMk/>
              <pc:sldMasterMk cId="2460954070" sldId="2147483660"/>
              <pc:sldLayoutMk cId="3171841454" sldId="2147483668"/>
              <ac:spMk id="6"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1718958274" sldId="2147483669"/>
          </pc:sldLayoutMkLst>
          <pc:spChg chg="mod">
            <ac:chgData name="Khaled Azmi Alkurd" userId="S::kalkurd@gmu.edu::d8a8490c-4d79-451d-b1ff-270e6eecfde3" providerId="AD" clId="Web-{818E7A2C-48D1-29D8-009D-FE8F5B7CA49E}" dt="2026-01-12T10:30:52.121" v="814"/>
            <ac:spMkLst>
              <pc:docMk/>
              <pc:sldMasterMk cId="2460954070" sldId="2147483660"/>
              <pc:sldLayoutMk cId="1718958274" sldId="2147483669"/>
              <ac:spMk id="6"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2202905451" sldId="2147483670"/>
          </pc:sldLayoutMkLst>
          <pc:spChg chg="mod">
            <ac:chgData name="Khaled Azmi Alkurd" userId="S::kalkurd@gmu.edu::d8a8490c-4d79-451d-b1ff-270e6eecfde3" providerId="AD" clId="Web-{818E7A2C-48D1-29D8-009D-FE8F5B7CA49E}" dt="2026-01-12T10:30:52.121" v="814"/>
            <ac:spMkLst>
              <pc:docMk/>
              <pc:sldMasterMk cId="2460954070" sldId="2147483660"/>
              <pc:sldLayoutMk cId="2202905451" sldId="2147483670"/>
              <ac:spMk id="5" creationId="{00000000-0000-0000-0000-000000000000}"/>
            </ac:spMkLst>
          </pc:spChg>
        </pc:sldLayoutChg>
        <pc:sldLayoutChg chg="modSp mod">
          <pc:chgData name="Khaled Azmi Alkurd" userId="S::kalkurd@gmu.edu::d8a8490c-4d79-451d-b1ff-270e6eecfde3" providerId="AD" clId="Web-{818E7A2C-48D1-29D8-009D-FE8F5B7CA49E}" dt="2026-01-12T10:31:05.090" v="817"/>
          <pc:sldLayoutMkLst>
            <pc:docMk/>
            <pc:sldMasterMk cId="2460954070" sldId="2147483660"/>
            <pc:sldLayoutMk cId="3479445657" sldId="2147483671"/>
          </pc:sldLayoutMkLst>
          <pc:spChg chg="mod">
            <ac:chgData name="Khaled Azmi Alkurd" userId="S::kalkurd@gmu.edu::d8a8490c-4d79-451d-b1ff-270e6eecfde3" providerId="AD" clId="Web-{818E7A2C-48D1-29D8-009D-FE8F5B7CA49E}" dt="2026-01-12T10:30:52.121" v="814"/>
            <ac:spMkLst>
              <pc:docMk/>
              <pc:sldMasterMk cId="2460954070" sldId="2147483660"/>
              <pc:sldLayoutMk cId="3479445657" sldId="2147483671"/>
              <ac:spMk id="5" creationId="{00000000-0000-0000-0000-000000000000}"/>
            </ac:spMkLst>
          </pc:spChg>
        </pc:sldLayoutChg>
        <pc:sldLayoutChg chg="mod">
          <pc:chgData name="Khaled Azmi Alkurd" userId="S::kalkurd@gmu.edu::d8a8490c-4d79-451d-b1ff-270e6eecfde3" providerId="AD" clId="Web-{818E7A2C-48D1-29D8-009D-FE8F5B7CA49E}" dt="2026-01-12T10:31:05.090" v="817"/>
          <pc:sldLayoutMkLst>
            <pc:docMk/>
            <pc:sldMasterMk cId="2460954070" sldId="2147483660"/>
            <pc:sldLayoutMk cId="1030576701" sldId="2147483672"/>
          </pc:sldLayoutMkLst>
        </pc:sldLayoutChg>
        <pc:sldLayoutChg chg="mod">
          <pc:chgData name="Khaled Azmi Alkurd" userId="S::kalkurd@gmu.edu::d8a8490c-4d79-451d-b1ff-270e6eecfde3" providerId="AD" clId="Web-{818E7A2C-48D1-29D8-009D-FE8F5B7CA49E}" dt="2026-01-12T10:31:05.090" v="817"/>
          <pc:sldLayoutMkLst>
            <pc:docMk/>
            <pc:sldMasterMk cId="2460954070" sldId="2147483660"/>
            <pc:sldLayoutMk cId="356153768" sldId="2147483673"/>
          </pc:sldLayoutMkLst>
        </pc:sldLayoutChg>
        <pc:sldLayoutChg chg="mod">
          <pc:chgData name="Khaled Azmi Alkurd" userId="S::kalkurd@gmu.edu::d8a8490c-4d79-451d-b1ff-270e6eecfde3" providerId="AD" clId="Web-{818E7A2C-48D1-29D8-009D-FE8F5B7CA49E}" dt="2026-01-12T10:31:05.090" v="817"/>
          <pc:sldLayoutMkLst>
            <pc:docMk/>
            <pc:sldMasterMk cId="2460954070" sldId="2147483660"/>
            <pc:sldLayoutMk cId="4291013893" sldId="2147483674"/>
          </pc:sldLayoutMkLst>
        </pc:sldLayoutChg>
      </pc:sldMasterChg>
    </pc:docChg>
  </pc:docChgLst>
  <pc:docChgLst>
    <pc:chgData name="Khaled Azmi Alkurd" userId="S::kalkurd@gmu.edu::d8a8490c-4d79-451d-b1ff-270e6eecfde3" providerId="AD" clId="Web-{F18476B4-A87E-D2EE-E39E-91C94654FE49}"/>
    <pc:docChg chg="addSld modSld">
      <pc:chgData name="Khaled Azmi Alkurd" userId="S::kalkurd@gmu.edu::d8a8490c-4d79-451d-b1ff-270e6eecfde3" providerId="AD" clId="Web-{F18476B4-A87E-D2EE-E39E-91C94654FE49}" dt="2026-01-13T05:58:46.359" v="502"/>
      <pc:docMkLst>
        <pc:docMk/>
      </pc:docMkLst>
      <pc:sldChg chg="modSp">
        <pc:chgData name="Khaled Azmi Alkurd" userId="S::kalkurd@gmu.edu::d8a8490c-4d79-451d-b1ff-270e6eecfde3" providerId="AD" clId="Web-{F18476B4-A87E-D2EE-E39E-91C94654FE49}" dt="2026-01-13T05:35:27.026" v="163" actId="14100"/>
        <pc:sldMkLst>
          <pc:docMk/>
          <pc:sldMk cId="1562903043" sldId="2147472444"/>
        </pc:sldMkLst>
        <pc:picChg chg="mod">
          <ac:chgData name="Khaled Azmi Alkurd" userId="S::kalkurd@gmu.edu::d8a8490c-4d79-451d-b1ff-270e6eecfde3" providerId="AD" clId="Web-{F18476B4-A87E-D2EE-E39E-91C94654FE49}" dt="2026-01-13T05:35:27.026" v="163" actId="14100"/>
          <ac:picMkLst>
            <pc:docMk/>
            <pc:sldMk cId="1562903043" sldId="2147472444"/>
            <ac:picMk id="8" creationId="{AA906DC3-8B31-122E-ED0C-83B5D097DC57}"/>
          </ac:picMkLst>
        </pc:picChg>
      </pc:sldChg>
      <pc:sldChg chg="addSp delSp modSp add replId">
        <pc:chgData name="Khaled Azmi Alkurd" userId="S::kalkurd@gmu.edu::d8a8490c-4d79-451d-b1ff-270e6eecfde3" providerId="AD" clId="Web-{F18476B4-A87E-D2EE-E39E-91C94654FE49}" dt="2026-01-13T05:57:26.073" v="501"/>
        <pc:sldMkLst>
          <pc:docMk/>
          <pc:sldMk cId="735017481" sldId="2147472448"/>
        </pc:sldMkLst>
        <pc:spChg chg="mod">
          <ac:chgData name="Khaled Azmi Alkurd" userId="S::kalkurd@gmu.edu::d8a8490c-4d79-451d-b1ff-270e6eecfde3" providerId="AD" clId="Web-{F18476B4-A87E-D2EE-E39E-91C94654FE49}" dt="2026-01-13T05:54:25.352" v="213" actId="20577"/>
          <ac:spMkLst>
            <pc:docMk/>
            <pc:sldMk cId="735017481" sldId="2147472448"/>
            <ac:spMk id="2" creationId="{D6228CDF-9B84-BA73-7D90-CFCC503B1800}"/>
          </ac:spMkLst>
        </pc:spChg>
        <pc:spChg chg="add mod">
          <ac:chgData name="Khaled Azmi Alkurd" userId="S::kalkurd@gmu.edu::d8a8490c-4d79-451d-b1ff-270e6eecfde3" providerId="AD" clId="Web-{F18476B4-A87E-D2EE-E39E-91C94654FE49}" dt="2026-01-13T05:56:51.385" v="500" actId="1076"/>
          <ac:spMkLst>
            <pc:docMk/>
            <pc:sldMk cId="735017481" sldId="2147472448"/>
            <ac:spMk id="7" creationId="{2847D536-25ED-B1BC-A95C-232A93F2372E}"/>
          </ac:spMkLst>
        </pc:spChg>
        <pc:spChg chg="mod">
          <ac:chgData name="Khaled Azmi Alkurd" userId="S::kalkurd@gmu.edu::d8a8490c-4d79-451d-b1ff-270e6eecfde3" providerId="AD" clId="Web-{F18476B4-A87E-D2EE-E39E-91C94654FE49}" dt="2026-01-13T05:30:46.304" v="129" actId="20577"/>
          <ac:spMkLst>
            <pc:docMk/>
            <pc:sldMk cId="735017481" sldId="2147472448"/>
            <ac:spMk id="21" creationId="{AFB51F41-0476-877F-2985-2FF3D19C2C82}"/>
          </ac:spMkLst>
        </pc:spChg>
        <pc:graphicFrameChg chg="add mod modGraphic">
          <ac:chgData name="Khaled Azmi Alkurd" userId="S::kalkurd@gmu.edu::d8a8490c-4d79-451d-b1ff-270e6eecfde3" providerId="AD" clId="Web-{F18476B4-A87E-D2EE-E39E-91C94654FE49}" dt="2026-01-13T05:57:26.073" v="501"/>
          <ac:graphicFrameMkLst>
            <pc:docMk/>
            <pc:sldMk cId="735017481" sldId="2147472448"/>
            <ac:graphicFrameMk id="3" creationId="{1E2827D1-C5AB-0F5D-2023-AA2260A3634F}"/>
          </ac:graphicFrameMkLst>
        </pc:graphicFrameChg>
        <pc:picChg chg="add mod modCrop">
          <ac:chgData name="Khaled Azmi Alkurd" userId="S::kalkurd@gmu.edu::d8a8490c-4d79-451d-b1ff-270e6eecfde3" providerId="AD" clId="Web-{F18476B4-A87E-D2EE-E39E-91C94654FE49}" dt="2026-01-13T05:55:00.649" v="222" actId="1076"/>
          <ac:picMkLst>
            <pc:docMk/>
            <pc:sldMk cId="735017481" sldId="2147472448"/>
            <ac:picMk id="8" creationId="{89308627-29C4-D9A7-774C-3D9033252E38}"/>
          </ac:picMkLst>
        </pc:picChg>
      </pc:sldChg>
    </pc:docChg>
  </pc:docChgLst>
  <pc:docChgLst>
    <pc:chgData name="Yiguedan Andy Yaro" userId="S::yyaro@gmu.edu::0bc60cd9-ce11-4c17-b712-5d9396d74f80" providerId="AD" clId="Web-{00AF13B9-6095-F33E-CF3D-F4222A2D5BC1}"/>
    <pc:docChg chg="modSld">
      <pc:chgData name="Yiguedan Andy Yaro" userId="S::yyaro@gmu.edu::0bc60cd9-ce11-4c17-b712-5d9396d74f80" providerId="AD" clId="Web-{00AF13B9-6095-F33E-CF3D-F4222A2D5BC1}" dt="2026-01-15T18:19:58.615" v="49" actId="14100"/>
      <pc:docMkLst>
        <pc:docMk/>
      </pc:docMkLst>
    </pc:docChg>
  </pc:docChgLst>
  <pc:docChgLst>
    <pc:chgData name="Khaled Azmi Alkurd" userId="S::kalkurd@gmu.edu::d8a8490c-4d79-451d-b1ff-270e6eecfde3" providerId="AD" clId="Web-{CF4BFFA7-F183-86A5-BF57-5033FE11A619}"/>
    <pc:docChg chg="modSld">
      <pc:chgData name="Khaled Azmi Alkurd" userId="S::kalkurd@gmu.edu::d8a8490c-4d79-451d-b1ff-270e6eecfde3" providerId="AD" clId="Web-{CF4BFFA7-F183-86A5-BF57-5033FE11A619}" dt="2026-01-15T09:36:54.743" v="9" actId="20577"/>
      <pc:docMkLst>
        <pc:docMk/>
      </pc:docMkLst>
      <pc:sldChg chg="modSp">
        <pc:chgData name="Khaled Azmi Alkurd" userId="S::kalkurd@gmu.edu::d8a8490c-4d79-451d-b1ff-270e6eecfde3" providerId="AD" clId="Web-{CF4BFFA7-F183-86A5-BF57-5033FE11A619}" dt="2026-01-15T09:33:47.718" v="3"/>
        <pc:sldMkLst>
          <pc:docMk/>
          <pc:sldMk cId="1562903043" sldId="2147472444"/>
        </pc:sldMkLst>
        <pc:graphicFrameChg chg="modGraphic">
          <ac:chgData name="Khaled Azmi Alkurd" userId="S::kalkurd@gmu.edu::d8a8490c-4d79-451d-b1ff-270e6eecfde3" providerId="AD" clId="Web-{CF4BFFA7-F183-86A5-BF57-5033FE11A619}" dt="2026-01-15T09:33:47.718" v="3"/>
          <ac:graphicFrameMkLst>
            <pc:docMk/>
            <pc:sldMk cId="1562903043" sldId="2147472444"/>
            <ac:graphicFrameMk id="26" creationId="{25BECAAD-A7F0-A6B9-5729-CE992C5AD733}"/>
          </ac:graphicFrameMkLst>
        </pc:graphicFrameChg>
      </pc:sldChg>
      <pc:sldChg chg="modSp">
        <pc:chgData name="Khaled Azmi Alkurd" userId="S::kalkurd@gmu.edu::d8a8490c-4d79-451d-b1ff-270e6eecfde3" providerId="AD" clId="Web-{CF4BFFA7-F183-86A5-BF57-5033FE11A619}" dt="2026-01-15T09:34:05.860" v="6"/>
        <pc:sldMkLst>
          <pc:docMk/>
          <pc:sldMk cId="1998565782" sldId="2147472446"/>
        </pc:sldMkLst>
        <pc:graphicFrameChg chg="modGraphic">
          <ac:chgData name="Khaled Azmi Alkurd" userId="S::kalkurd@gmu.edu::d8a8490c-4d79-451d-b1ff-270e6eecfde3" providerId="AD" clId="Web-{CF4BFFA7-F183-86A5-BF57-5033FE11A619}" dt="2026-01-15T09:34:05.860" v="6"/>
          <ac:graphicFrameMkLst>
            <pc:docMk/>
            <pc:sldMk cId="1998565782" sldId="2147472446"/>
            <ac:graphicFrameMk id="29" creationId="{CF1E6589-C37D-3B4B-0F14-ADC2F34C58F2}"/>
          </ac:graphicFrameMkLst>
        </pc:graphicFrameChg>
      </pc:sldChg>
      <pc:sldChg chg="modSp">
        <pc:chgData name="Khaled Azmi Alkurd" userId="S::kalkurd@gmu.edu::d8a8490c-4d79-451d-b1ff-270e6eecfde3" providerId="AD" clId="Web-{CF4BFFA7-F183-86A5-BF57-5033FE11A619}" dt="2026-01-15T09:36:54.743" v="9" actId="20577"/>
        <pc:sldMkLst>
          <pc:docMk/>
          <pc:sldMk cId="3176373537" sldId="2147472453"/>
        </pc:sldMkLst>
        <pc:spChg chg="mod">
          <ac:chgData name="Khaled Azmi Alkurd" userId="S::kalkurd@gmu.edu::d8a8490c-4d79-451d-b1ff-270e6eecfde3" providerId="AD" clId="Web-{CF4BFFA7-F183-86A5-BF57-5033FE11A619}" dt="2026-01-15T09:36:54.743" v="9" actId="20577"/>
          <ac:spMkLst>
            <pc:docMk/>
            <pc:sldMk cId="3176373537" sldId="2147472453"/>
            <ac:spMk id="14" creationId="{674B8D39-EBFD-5EE5-EB42-4C0E3BBEB98A}"/>
          </ac:spMkLst>
        </pc:spChg>
      </pc:sldChg>
      <pc:sldChg chg="modSp">
        <pc:chgData name="Khaled Azmi Alkurd" userId="S::kalkurd@gmu.edu::d8a8490c-4d79-451d-b1ff-270e6eecfde3" providerId="AD" clId="Web-{CF4BFFA7-F183-86A5-BF57-5033FE11A619}" dt="2026-01-15T09:29:21.792" v="1"/>
        <pc:sldMkLst>
          <pc:docMk/>
          <pc:sldMk cId="705894713" sldId="2147472460"/>
        </pc:sldMkLst>
        <pc:picChg chg="mod modCrop">
          <ac:chgData name="Khaled Azmi Alkurd" userId="S::kalkurd@gmu.edu::d8a8490c-4d79-451d-b1ff-270e6eecfde3" providerId="AD" clId="Web-{CF4BFFA7-F183-86A5-BF57-5033FE11A619}" dt="2026-01-15T09:29:21.792" v="1"/>
          <ac:picMkLst>
            <pc:docMk/>
            <pc:sldMk cId="705894713" sldId="2147472460"/>
            <ac:picMk id="23" creationId="{B1DA0EF6-CDCA-3CF3-64B8-A54163DDE4CD}"/>
          </ac:picMkLst>
        </pc:picChg>
      </pc:sldChg>
    </pc:docChg>
  </pc:docChgLst>
  <pc:docChgLst>
    <pc:chgData name="Khaled Azmi Alkurd" userId="S::kalkurd@gmu.edu::d8a8490c-4d79-451d-b1ff-270e6eecfde3" providerId="AD" clId="Web-{2AC4167B-C6F6-773E-0931-512823CBD6C0}"/>
    <pc:docChg chg="addSld">
      <pc:chgData name="Khaled Azmi Alkurd" userId="S::kalkurd@gmu.edu::d8a8490c-4d79-451d-b1ff-270e6eecfde3" providerId="AD" clId="Web-{2AC4167B-C6F6-773E-0931-512823CBD6C0}" dt="2026-01-13T22:26:06.877" v="0"/>
      <pc:docMkLst>
        <pc:docMk/>
      </pc:docMkLst>
    </pc:docChg>
  </pc:docChgLst>
  <pc:docChgLst>
    <pc:chgData name="Yiguedan Andy Yaro" userId="S::yyaro@gmu.edu::0bc60cd9-ce11-4c17-b712-5d9396d74f80" providerId="AD" clId="Web-{46DAD452-BE10-05C6-1AB3-39B352B6E858}"/>
    <pc:docChg chg="modSld">
      <pc:chgData name="Yiguedan Andy Yaro" userId="S::yyaro@gmu.edu::0bc60cd9-ce11-4c17-b712-5d9396d74f80" providerId="AD" clId="Web-{46DAD452-BE10-05C6-1AB3-39B352B6E858}" dt="2026-01-15T10:53:20.528" v="18"/>
      <pc:docMkLst>
        <pc:docMk/>
      </pc:docMkLst>
      <pc:sldChg chg="delSp modSp">
        <pc:chgData name="Yiguedan Andy Yaro" userId="S::yyaro@gmu.edu::0bc60cd9-ce11-4c17-b712-5d9396d74f80" providerId="AD" clId="Web-{46DAD452-BE10-05C6-1AB3-39B352B6E858}" dt="2026-01-15T10:53:20.528" v="18"/>
        <pc:sldMkLst>
          <pc:docMk/>
          <pc:sldMk cId="130524519" sldId="2147472458"/>
        </pc:sldMkLst>
        <pc:spChg chg="mod">
          <ac:chgData name="Yiguedan Andy Yaro" userId="S::yyaro@gmu.edu::0bc60cd9-ce11-4c17-b712-5d9396d74f80" providerId="AD" clId="Web-{46DAD452-BE10-05C6-1AB3-39B352B6E858}" dt="2026-01-15T10:53:14.138" v="17" actId="20577"/>
          <ac:spMkLst>
            <pc:docMk/>
            <pc:sldMk cId="130524519" sldId="2147472458"/>
            <ac:spMk id="39" creationId="{CDFDB912-4ABC-E083-8072-74548A7F6C32}"/>
          </ac:spMkLst>
        </pc:spChg>
      </pc:sldChg>
    </pc:docChg>
  </pc:docChgLst>
  <pc:docChgLst>
    <pc:chgData name="Nikita Chandrasing" userId="S::nchandr3@gmu.edu::a6614213-6536-4d81-9686-55df5591b5b2" providerId="AD" clId="Web-{224CAC3F-29E9-E31B-3740-049DAB2856CF}"/>
    <pc:docChg chg="addSld modSld sldOrd">
      <pc:chgData name="Nikita Chandrasing" userId="S::nchandr3@gmu.edu::a6614213-6536-4d81-9686-55df5591b5b2" providerId="AD" clId="Web-{224CAC3F-29E9-E31B-3740-049DAB2856CF}" dt="2026-01-15T20:17:19.891" v="354"/>
      <pc:docMkLst>
        <pc:docMk/>
      </pc:docMkLst>
      <pc:sldChg chg="addSp delSp modSp add ord">
        <pc:chgData name="Nikita Chandrasing" userId="S::nchandr3@gmu.edu::a6614213-6536-4d81-9686-55df5591b5b2" providerId="AD" clId="Web-{224CAC3F-29E9-E31B-3740-049DAB2856CF}" dt="2026-01-15T18:53:44.196" v="340"/>
        <pc:sldMkLst>
          <pc:docMk/>
          <pc:sldMk cId="2143509530" sldId="2147472455"/>
        </pc:sldMkLst>
        <pc:spChg chg="mod">
          <ac:chgData name="Nikita Chandrasing" userId="S::nchandr3@gmu.edu::a6614213-6536-4d81-9686-55df5591b5b2" providerId="AD" clId="Web-{224CAC3F-29E9-E31B-3740-049DAB2856CF}" dt="2026-01-15T18:17:30.827" v="105" actId="20577"/>
          <ac:spMkLst>
            <pc:docMk/>
            <pc:sldMk cId="2143509530" sldId="2147472455"/>
            <ac:spMk id="2" creationId="{2307DBDE-42B6-1AC3-BD25-C992D0A8FA7F}"/>
          </ac:spMkLst>
        </pc:spChg>
        <pc:spChg chg="mod">
          <ac:chgData name="Nikita Chandrasing" userId="S::nchandr3@gmu.edu::a6614213-6536-4d81-9686-55df5591b5b2" providerId="AD" clId="Web-{224CAC3F-29E9-E31B-3740-049DAB2856CF}" dt="2026-01-15T18:40:45.410" v="136" actId="1076"/>
          <ac:spMkLst>
            <pc:docMk/>
            <pc:sldMk cId="2143509530" sldId="2147472455"/>
            <ac:spMk id="3" creationId="{9A2813D2-DB41-398B-C230-CAF012D68CBA}"/>
          </ac:spMkLst>
        </pc:spChg>
        <pc:spChg chg="add mod">
          <ac:chgData name="Nikita Chandrasing" userId="S::nchandr3@gmu.edu::a6614213-6536-4d81-9686-55df5591b5b2" providerId="AD" clId="Web-{224CAC3F-29E9-E31B-3740-049DAB2856CF}" dt="2026-01-15T18:48:22.742" v="304" actId="1076"/>
          <ac:spMkLst>
            <pc:docMk/>
            <pc:sldMk cId="2143509530" sldId="2147472455"/>
            <ac:spMk id="4" creationId="{A2124CAD-98F4-59BF-FE2C-4D2D634148DE}"/>
          </ac:spMkLst>
        </pc:spChg>
        <pc:spChg chg="mod">
          <ac:chgData name="Nikita Chandrasing" userId="S::nchandr3@gmu.edu::a6614213-6536-4d81-9686-55df5591b5b2" providerId="AD" clId="Web-{224CAC3F-29E9-E31B-3740-049DAB2856CF}" dt="2026-01-15T18:23:00.313" v="122" actId="20577"/>
          <ac:spMkLst>
            <pc:docMk/>
            <pc:sldMk cId="2143509530" sldId="2147472455"/>
            <ac:spMk id="7" creationId="{3817EC1C-4B4F-5789-634E-8E4DF5EC8819}"/>
          </ac:spMkLst>
        </pc:spChg>
        <pc:spChg chg="add mod ord">
          <ac:chgData name="Nikita Chandrasing" userId="S::nchandr3@gmu.edu::a6614213-6536-4d81-9686-55df5591b5b2" providerId="AD" clId="Web-{224CAC3F-29E9-E31B-3740-049DAB2856CF}" dt="2026-01-15T18:49:47.617" v="308" actId="20577"/>
          <ac:spMkLst>
            <pc:docMk/>
            <pc:sldMk cId="2143509530" sldId="2147472455"/>
            <ac:spMk id="9" creationId="{57B28117-4E38-D640-5F37-27AEB542991A}"/>
          </ac:spMkLst>
        </pc:spChg>
        <pc:spChg chg="mod">
          <ac:chgData name="Nikita Chandrasing" userId="S::nchandr3@gmu.edu::a6614213-6536-4d81-9686-55df5591b5b2" providerId="AD" clId="Web-{224CAC3F-29E9-E31B-3740-049DAB2856CF}" dt="2026-01-15T18:40:39.879" v="132" actId="1076"/>
          <ac:spMkLst>
            <pc:docMk/>
            <pc:sldMk cId="2143509530" sldId="2147472455"/>
            <ac:spMk id="17" creationId="{699D3786-4EF6-3CD4-6FFE-B5A77D00BA78}"/>
          </ac:spMkLst>
        </pc:spChg>
        <pc:spChg chg="mod">
          <ac:chgData name="Nikita Chandrasing" userId="S::nchandr3@gmu.edu::a6614213-6536-4d81-9686-55df5591b5b2" providerId="AD" clId="Web-{224CAC3F-29E9-E31B-3740-049DAB2856CF}" dt="2026-01-15T18:40:43.051" v="135" actId="1076"/>
          <ac:spMkLst>
            <pc:docMk/>
            <pc:sldMk cId="2143509530" sldId="2147472455"/>
            <ac:spMk id="21" creationId="{FB8DE4AD-BB5A-AA3E-4E8B-4DFE4E9F9BBB}"/>
          </ac:spMkLst>
        </pc:spChg>
        <pc:picChg chg="add mod">
          <ac:chgData name="Nikita Chandrasing" userId="S::nchandr3@gmu.edu::a6614213-6536-4d81-9686-55df5591b5b2" providerId="AD" clId="Web-{224CAC3F-29E9-E31B-3740-049DAB2856CF}" dt="2026-01-15T18:53:44.196" v="340"/>
          <ac:picMkLst>
            <pc:docMk/>
            <pc:sldMk cId="2143509530" sldId="2147472455"/>
            <ac:picMk id="11" creationId="{43C595FF-277D-ABC5-E25E-61B44C3B820A}"/>
          </ac:picMkLst>
        </pc:picChg>
      </pc:sldChg>
      <pc:sldChg chg="addSp delSp modSp">
        <pc:chgData name="Nikita Chandrasing" userId="S::nchandr3@gmu.edu::a6614213-6536-4d81-9686-55df5591b5b2" providerId="AD" clId="Web-{224CAC3F-29E9-E31B-3740-049DAB2856CF}" dt="2026-01-15T19:08:18.857" v="351"/>
        <pc:sldMkLst>
          <pc:docMk/>
          <pc:sldMk cId="3444418906" sldId="2147472463"/>
        </pc:sldMkLst>
        <pc:spChg chg="mod">
          <ac:chgData name="Nikita Chandrasing" userId="S::nchandr3@gmu.edu::a6614213-6536-4d81-9686-55df5591b5b2" providerId="AD" clId="Web-{224CAC3F-29E9-E31B-3740-049DAB2856CF}" dt="2026-01-15T19:07:54.138" v="347"/>
          <ac:spMkLst>
            <pc:docMk/>
            <pc:sldMk cId="3444418906" sldId="2147472463"/>
            <ac:spMk id="12" creationId="{4C11A0C3-B897-E3E0-7404-607DE2414430}"/>
          </ac:spMkLst>
        </pc:spChg>
        <pc:spChg chg="mod">
          <ac:chgData name="Nikita Chandrasing" userId="S::nchandr3@gmu.edu::a6614213-6536-4d81-9686-55df5591b5b2" providerId="AD" clId="Web-{224CAC3F-29E9-E31B-3740-049DAB2856CF}" dt="2026-01-15T19:07:59.200" v="348"/>
          <ac:spMkLst>
            <pc:docMk/>
            <pc:sldMk cId="3444418906" sldId="2147472463"/>
            <ac:spMk id="14" creationId="{E0F191CA-D39B-969A-735D-82861FFD9572}"/>
          </ac:spMkLst>
        </pc:spChg>
        <pc:spChg chg="mod">
          <ac:chgData name="Nikita Chandrasing" userId="S::nchandr3@gmu.edu::a6614213-6536-4d81-9686-55df5591b5b2" providerId="AD" clId="Web-{224CAC3F-29E9-E31B-3740-049DAB2856CF}" dt="2026-01-15T19:08:14.435" v="350"/>
          <ac:spMkLst>
            <pc:docMk/>
            <pc:sldMk cId="3444418906" sldId="2147472463"/>
            <ac:spMk id="18" creationId="{E4EB992F-A3CC-AAB0-EA47-D4813ABCA2FA}"/>
          </ac:spMkLst>
        </pc:spChg>
        <pc:spChg chg="mod">
          <ac:chgData name="Nikita Chandrasing" userId="S::nchandr3@gmu.edu::a6614213-6536-4d81-9686-55df5591b5b2" providerId="AD" clId="Web-{224CAC3F-29E9-E31B-3740-049DAB2856CF}" dt="2026-01-15T19:08:08.013" v="349"/>
          <ac:spMkLst>
            <pc:docMk/>
            <pc:sldMk cId="3444418906" sldId="2147472463"/>
            <ac:spMk id="19" creationId="{86A6E53F-0A2C-7707-4895-6FC67E67F03A}"/>
          </ac:spMkLst>
        </pc:spChg>
        <pc:grpChg chg="add del">
          <ac:chgData name="Nikita Chandrasing" userId="S::nchandr3@gmu.edu::a6614213-6536-4d81-9686-55df5591b5b2" providerId="AD" clId="Web-{224CAC3F-29E9-E31B-3740-049DAB2856CF}" dt="2026-01-15T19:06:32.028" v="342"/>
          <ac:grpSpMkLst>
            <pc:docMk/>
            <pc:sldMk cId="3444418906" sldId="2147472463"/>
            <ac:grpSpMk id="16" creationId="{EE573610-1C1D-1138-6982-B278D8FA0821}"/>
          </ac:grpSpMkLst>
        </pc:grpChg>
      </pc:sldChg>
    </pc:docChg>
  </pc:docChgLst>
  <pc:docChgLst>
    <pc:chgData name="Yiguedan Andy Yaro" userId="S::yyaro@gmu.edu::0bc60cd9-ce11-4c17-b712-5d9396d74f80" providerId="AD" clId="Web-{75935CC6-4BE4-0919-9FF3-6487D6E49909}"/>
    <pc:docChg chg="modSld">
      <pc:chgData name="Yiguedan Andy Yaro" userId="S::yyaro@gmu.edu::0bc60cd9-ce11-4c17-b712-5d9396d74f80" providerId="AD" clId="Web-{75935CC6-4BE4-0919-9FF3-6487D6E49909}" dt="2026-01-15T15:41:11.085" v="10" actId="20577"/>
      <pc:docMkLst>
        <pc:docMk/>
      </pc:docMkLst>
      <pc:sldChg chg="delSp modSp">
        <pc:chgData name="Yiguedan Andy Yaro" userId="S::yyaro@gmu.edu::0bc60cd9-ce11-4c17-b712-5d9396d74f80" providerId="AD" clId="Web-{75935CC6-4BE4-0919-9FF3-6487D6E49909}" dt="2026-01-15T15:41:11.085" v="10" actId="20577"/>
        <pc:sldMkLst>
          <pc:docMk/>
          <pc:sldMk cId="130524519" sldId="2147472458"/>
        </pc:sldMkLst>
        <pc:spChg chg="mod">
          <ac:chgData name="Yiguedan Andy Yaro" userId="S::yyaro@gmu.edu::0bc60cd9-ce11-4c17-b712-5d9396d74f80" providerId="AD" clId="Web-{75935CC6-4BE4-0919-9FF3-6487D6E49909}" dt="2026-01-15T15:34:13.279" v="8" actId="1076"/>
          <ac:spMkLst>
            <pc:docMk/>
            <pc:sldMk cId="130524519" sldId="2147472458"/>
            <ac:spMk id="3" creationId="{42EFCBE7-2836-9EB4-E65B-015462867D68}"/>
          </ac:spMkLst>
        </pc:spChg>
        <pc:spChg chg="mod">
          <ac:chgData name="Yiguedan Andy Yaro" userId="S::yyaro@gmu.edu::0bc60cd9-ce11-4c17-b712-5d9396d74f80" providerId="AD" clId="Web-{75935CC6-4BE4-0919-9FF3-6487D6E49909}" dt="2026-01-15T15:41:11.085" v="10" actId="20577"/>
          <ac:spMkLst>
            <pc:docMk/>
            <pc:sldMk cId="130524519" sldId="2147472458"/>
            <ac:spMk id="22" creationId="{611F2C84-CD97-FC10-DDAC-2D98405871BB}"/>
          </ac:spMkLst>
        </pc:spChg>
      </pc:sldChg>
    </pc:docChg>
  </pc:docChgLst>
  <pc:docChgLst>
    <pc:chgData name="Yiguedan Andy Yaro" userId="S::yyaro@gmu.edu::0bc60cd9-ce11-4c17-b712-5d9396d74f80" providerId="AD" clId="Web-{A05206F3-B0A2-92D7-5852-83390DEEE4B5}"/>
    <pc:docChg chg="modSld">
      <pc:chgData name="Yiguedan Andy Yaro" userId="S::yyaro@gmu.edu::0bc60cd9-ce11-4c17-b712-5d9396d74f80" providerId="AD" clId="Web-{A05206F3-B0A2-92D7-5852-83390DEEE4B5}" dt="2026-01-14T15:31:09.857" v="0" actId="20577"/>
      <pc:docMkLst>
        <pc:docMk/>
      </pc:docMkLst>
    </pc:docChg>
  </pc:docChgLst>
  <pc:docChgLst>
    <pc:chgData name="Khaled Azmi Alkurd" userId="S::kalkurd@gmu.edu::d8a8490c-4d79-451d-b1ff-270e6eecfde3" providerId="AD" clId="Web-{64A06082-547E-A237-DCC0-D4FE9CA2DF71}"/>
    <pc:docChg chg="addSld modSld">
      <pc:chgData name="Khaled Azmi Alkurd" userId="S::kalkurd@gmu.edu::d8a8490c-4d79-451d-b1ff-270e6eecfde3" providerId="AD" clId="Web-{64A06082-547E-A237-DCC0-D4FE9CA2DF71}" dt="2026-01-13T10:28:42.129" v="206" actId="20577"/>
      <pc:docMkLst>
        <pc:docMk/>
      </pc:docMkLst>
      <pc:sldChg chg="modSp">
        <pc:chgData name="Khaled Azmi Alkurd" userId="S::kalkurd@gmu.edu::d8a8490c-4d79-451d-b1ff-270e6eecfde3" providerId="AD" clId="Web-{64A06082-547E-A237-DCC0-D4FE9CA2DF71}" dt="2026-01-13T10:04:46.202" v="17"/>
        <pc:sldMkLst>
          <pc:docMk/>
          <pc:sldMk cId="1561532402" sldId="2147472447"/>
        </pc:sldMkLst>
        <pc:graphicFrameChg chg="mod modGraphic">
          <ac:chgData name="Khaled Azmi Alkurd" userId="S::kalkurd@gmu.edu::d8a8490c-4d79-451d-b1ff-270e6eecfde3" providerId="AD" clId="Web-{64A06082-547E-A237-DCC0-D4FE9CA2DF71}" dt="2026-01-13T10:04:46.202" v="17"/>
          <ac:graphicFrameMkLst>
            <pc:docMk/>
            <pc:sldMk cId="1561532402" sldId="2147472447"/>
            <ac:graphicFrameMk id="10" creationId="{5863B173-8AE8-44A4-FEB6-5B47657AB6D9}"/>
          </ac:graphicFrameMkLst>
        </pc:graphicFrameChg>
      </pc:sldChg>
    </pc:docChg>
  </pc:docChgLst>
  <pc:docChgLst>
    <pc:chgData name="Khaled Azmi Alkurd" userId="S::kalkurd@gmu.edu::d8a8490c-4d79-451d-b1ff-270e6eecfde3" providerId="AD" clId="Web-{FEC9B035-4C71-6FB7-5A41-1C5377D9FCA1}"/>
    <pc:docChg chg="modSld">
      <pc:chgData name="Khaled Azmi Alkurd" userId="S::kalkurd@gmu.edu::d8a8490c-4d79-451d-b1ff-270e6eecfde3" providerId="AD" clId="Web-{FEC9B035-4C71-6FB7-5A41-1C5377D9FCA1}" dt="2026-01-14T06:21:22.542" v="216"/>
      <pc:docMkLst>
        <pc:docMk/>
      </pc:docMkLst>
      <pc:sldChg chg="addSp delSp modSp">
        <pc:chgData name="Khaled Azmi Alkurd" userId="S::kalkurd@gmu.edu::d8a8490c-4d79-451d-b1ff-270e6eecfde3" providerId="AD" clId="Web-{FEC9B035-4C71-6FB7-5A41-1C5377D9FCA1}" dt="2026-01-14T06:21:22.542" v="216"/>
        <pc:sldMkLst>
          <pc:docMk/>
          <pc:sldMk cId="158379550" sldId="2305"/>
        </pc:sldMkLst>
        <pc:spChg chg="add mod">
          <ac:chgData name="Khaled Azmi Alkurd" userId="S::kalkurd@gmu.edu::d8a8490c-4d79-451d-b1ff-270e6eecfde3" providerId="AD" clId="Web-{FEC9B035-4C71-6FB7-5A41-1C5377D9FCA1}" dt="2026-01-14T06:03:27.278" v="112" actId="20577"/>
          <ac:spMkLst>
            <pc:docMk/>
            <pc:sldMk cId="158379550" sldId="2305"/>
            <ac:spMk id="9" creationId="{8BC0DFFC-AD41-D0D5-2E2A-4B13BD5112DF}"/>
          </ac:spMkLst>
        </pc:spChg>
        <pc:spChg chg="add mod">
          <ac:chgData name="Khaled Azmi Alkurd" userId="S::kalkurd@gmu.edu::d8a8490c-4d79-451d-b1ff-270e6eecfde3" providerId="AD" clId="Web-{FEC9B035-4C71-6FB7-5A41-1C5377D9FCA1}" dt="2026-01-14T06:14:19.625" v="140" actId="1076"/>
          <ac:spMkLst>
            <pc:docMk/>
            <pc:sldMk cId="158379550" sldId="2305"/>
            <ac:spMk id="11" creationId="{32186C7D-75CD-BBC1-C204-DBE4F03D95CA}"/>
          </ac:spMkLst>
        </pc:spChg>
        <pc:spChg chg="mod">
          <ac:chgData name="Khaled Azmi Alkurd" userId="S::kalkurd@gmu.edu::d8a8490c-4d79-451d-b1ff-270e6eecfde3" providerId="AD" clId="Web-{FEC9B035-4C71-6FB7-5A41-1C5377D9FCA1}" dt="2026-01-14T06:07:27.727" v="128" actId="1076"/>
          <ac:spMkLst>
            <pc:docMk/>
            <pc:sldMk cId="158379550" sldId="2305"/>
            <ac:spMk id="15" creationId="{FAE75441-B241-979C-E020-D7F482215BE9}"/>
          </ac:spMkLst>
        </pc:spChg>
        <pc:spChg chg="mod">
          <ac:chgData name="Khaled Azmi Alkurd" userId="S::kalkurd@gmu.edu::d8a8490c-4d79-451d-b1ff-270e6eecfde3" providerId="AD" clId="Web-{FEC9B035-4C71-6FB7-5A41-1C5377D9FCA1}" dt="2026-01-14T06:12:37.812" v="130" actId="20577"/>
          <ac:spMkLst>
            <pc:docMk/>
            <pc:sldMk cId="158379550" sldId="2305"/>
            <ac:spMk id="23" creationId="{2CD1DBE9-D19F-5D07-D807-8FBD2CD4A94B}"/>
          </ac:spMkLst>
        </pc:spChg>
        <pc:graphicFrameChg chg="mod modGraphic">
          <ac:chgData name="Khaled Azmi Alkurd" userId="S::kalkurd@gmu.edu::d8a8490c-4d79-451d-b1ff-270e6eecfde3" providerId="AD" clId="Web-{FEC9B035-4C71-6FB7-5A41-1C5377D9FCA1}" dt="2026-01-14T06:21:22.542" v="216"/>
          <ac:graphicFrameMkLst>
            <pc:docMk/>
            <pc:sldMk cId="158379550" sldId="2305"/>
            <ac:graphicFrameMk id="17" creationId="{E5968284-9449-950F-F3F2-03B05079F257}"/>
          </ac:graphicFrameMkLst>
        </pc:graphicFrameChg>
        <pc:picChg chg="add mod modCrop">
          <ac:chgData name="Khaled Azmi Alkurd" userId="S::kalkurd@gmu.edu::d8a8490c-4d79-451d-b1ff-270e6eecfde3" providerId="AD" clId="Web-{FEC9B035-4C71-6FB7-5A41-1C5377D9FCA1}" dt="2026-01-14T06:01:53.649" v="83" actId="1076"/>
          <ac:picMkLst>
            <pc:docMk/>
            <pc:sldMk cId="158379550" sldId="2305"/>
            <ac:picMk id="7" creationId="{FB5BBEAD-0096-75C4-3976-3D0584290E61}"/>
          </ac:picMkLst>
        </pc:picChg>
        <pc:picChg chg="add mod modCrop">
          <ac:chgData name="Khaled Azmi Alkurd" userId="S::kalkurd@gmu.edu::d8a8490c-4d79-451d-b1ff-270e6eecfde3" providerId="AD" clId="Web-{FEC9B035-4C71-6FB7-5A41-1C5377D9FCA1}" dt="2026-01-14T06:14:36.125" v="146"/>
          <ac:picMkLst>
            <pc:docMk/>
            <pc:sldMk cId="158379550" sldId="2305"/>
            <ac:picMk id="13" creationId="{E93EF240-67BD-DF2E-11BB-645D330E520F}"/>
          </ac:picMkLst>
        </pc:picChg>
      </pc:sldChg>
      <pc:sldChg chg="modSp">
        <pc:chgData name="Khaled Azmi Alkurd" userId="S::kalkurd@gmu.edu::d8a8490c-4d79-451d-b1ff-270e6eecfde3" providerId="AD" clId="Web-{FEC9B035-4C71-6FB7-5A41-1C5377D9FCA1}" dt="2026-01-14T06:17:14.174" v="156" actId="1076"/>
        <pc:sldMkLst>
          <pc:docMk/>
          <pc:sldMk cId="1855807379" sldId="2147472437"/>
        </pc:sldMkLst>
      </pc:sldChg>
      <pc:sldChg chg="modSp">
        <pc:chgData name="Khaled Azmi Alkurd" userId="S::kalkurd@gmu.edu::d8a8490c-4d79-451d-b1ff-270e6eecfde3" providerId="AD" clId="Web-{FEC9B035-4C71-6FB7-5A41-1C5377D9FCA1}" dt="2026-01-14T06:16:33.423" v="153" actId="1076"/>
        <pc:sldMkLst>
          <pc:docMk/>
          <pc:sldMk cId="1998565782" sldId="2147472446"/>
        </pc:sldMkLst>
        <pc:spChg chg="mod">
          <ac:chgData name="Khaled Azmi Alkurd" userId="S::kalkurd@gmu.edu::d8a8490c-4d79-451d-b1ff-270e6eecfde3" providerId="AD" clId="Web-{FEC9B035-4C71-6FB7-5A41-1C5377D9FCA1}" dt="2026-01-14T06:16:29.330" v="152" actId="1076"/>
          <ac:spMkLst>
            <pc:docMk/>
            <pc:sldMk cId="1998565782" sldId="2147472446"/>
            <ac:spMk id="22" creationId="{06D07998-B601-2D19-A4B3-18C00C1B45E5}"/>
          </ac:spMkLst>
        </pc:spChg>
        <pc:spChg chg="mod">
          <ac:chgData name="Khaled Azmi Alkurd" userId="S::kalkurd@gmu.edu::d8a8490c-4d79-451d-b1ff-270e6eecfde3" providerId="AD" clId="Web-{FEC9B035-4C71-6FB7-5A41-1C5377D9FCA1}" dt="2026-01-14T06:16:33.423" v="153" actId="1076"/>
          <ac:spMkLst>
            <pc:docMk/>
            <pc:sldMk cId="1998565782" sldId="2147472446"/>
            <ac:spMk id="24" creationId="{298C9059-EA68-F732-5FAB-4A6F425CD81F}"/>
          </ac:spMkLst>
        </pc:spChg>
        <pc:grpChg chg="mod">
          <ac:chgData name="Khaled Azmi Alkurd" userId="S::kalkurd@gmu.edu::d8a8490c-4d79-451d-b1ff-270e6eecfde3" providerId="AD" clId="Web-{FEC9B035-4C71-6FB7-5A41-1C5377D9FCA1}" dt="2026-01-14T06:16:15.470" v="149" actId="1076"/>
          <ac:grpSpMkLst>
            <pc:docMk/>
            <pc:sldMk cId="1998565782" sldId="2147472446"/>
            <ac:grpSpMk id="27" creationId="{6A5CD9C1-A79F-88FA-BAF6-98FBA8AC543E}"/>
          </ac:grpSpMkLst>
        </pc:grpChg>
      </pc:sldChg>
      <pc:sldChg chg="modSp">
        <pc:chgData name="Khaled Azmi Alkurd" userId="S::kalkurd@gmu.edu::d8a8490c-4d79-451d-b1ff-270e6eecfde3" providerId="AD" clId="Web-{FEC9B035-4C71-6FB7-5A41-1C5377D9FCA1}" dt="2026-01-14T06:04:32.704" v="118" actId="1076"/>
        <pc:sldMkLst>
          <pc:docMk/>
          <pc:sldMk cId="1561532402" sldId="2147472447"/>
        </pc:sldMkLst>
        <pc:spChg chg="mod">
          <ac:chgData name="Khaled Azmi Alkurd" userId="S::kalkurd@gmu.edu::d8a8490c-4d79-451d-b1ff-270e6eecfde3" providerId="AD" clId="Web-{FEC9B035-4C71-6FB7-5A41-1C5377D9FCA1}" dt="2026-01-14T06:04:32.704" v="118" actId="1076"/>
          <ac:spMkLst>
            <pc:docMk/>
            <pc:sldMk cId="1561532402" sldId="2147472447"/>
            <ac:spMk id="24" creationId="{0F2D2172-1A0B-4E5D-3A0A-C8AB7AD8AF9E}"/>
          </ac:spMkLst>
        </pc:spChg>
      </pc:sldChg>
    </pc:docChg>
  </pc:docChgLst>
  <pc:docChgLst>
    <pc:chgData name="Nikita Chandrasing" userId="S::nchandr3@gmu.edu::a6614213-6536-4d81-9686-55df5591b5b2" providerId="AD" clId="Web-{3476EB05-E0BB-AEB6-0B14-76943E9C4F1F}"/>
    <pc:docChg chg="addSld delSld modSld">
      <pc:chgData name="Nikita Chandrasing" userId="S::nchandr3@gmu.edu::a6614213-6536-4d81-9686-55df5591b5b2" providerId="AD" clId="Web-{3476EB05-E0BB-AEB6-0B14-76943E9C4F1F}" dt="2026-01-07T21:26:08.298" v="224" actId="20577"/>
      <pc:docMkLst>
        <pc:docMk/>
      </pc:docMkLst>
      <pc:sldChg chg="delSp modSp add mod setBg">
        <pc:chgData name="Nikita Chandrasing" userId="S::nchandr3@gmu.edu::a6614213-6536-4d81-9686-55df5591b5b2" providerId="AD" clId="Web-{3476EB05-E0BB-AEB6-0B14-76943E9C4F1F}" dt="2026-01-07T16:38:20.871" v="36"/>
        <pc:sldMkLst>
          <pc:docMk/>
          <pc:sldMk cId="2579588639" sldId="293"/>
        </pc:sldMkLst>
        <pc:spChg chg="mod">
          <ac:chgData name="Nikita Chandrasing" userId="S::nchandr3@gmu.edu::a6614213-6536-4d81-9686-55df5591b5b2" providerId="AD" clId="Web-{3476EB05-E0BB-AEB6-0B14-76943E9C4F1F}" dt="2026-01-07T16:37:23.168" v="32" actId="20577"/>
          <ac:spMkLst>
            <pc:docMk/>
            <pc:sldMk cId="2579588639" sldId="293"/>
            <ac:spMk id="187" creationId="{00000000-0000-0000-0000-000000000000}"/>
          </ac:spMkLst>
        </pc:spChg>
      </pc:sldChg>
      <pc:sldMasterChg chg="addSldLayout">
        <pc:chgData name="Nikita Chandrasing" userId="S::nchandr3@gmu.edu::a6614213-6536-4d81-9686-55df5591b5b2" providerId="AD" clId="Web-{3476EB05-E0BB-AEB6-0B14-76943E9C4F1F}" dt="2026-01-07T17:06:20.836" v="38"/>
        <pc:sldMasterMkLst>
          <pc:docMk/>
          <pc:sldMasterMk cId="2460954070" sldId="2147483660"/>
        </pc:sldMasterMkLst>
        <pc:sldLayoutChg chg="add">
          <pc:chgData name="Nikita Chandrasing" userId="S::nchandr3@gmu.edu::a6614213-6536-4d81-9686-55df5591b5b2" providerId="AD" clId="Web-{3476EB05-E0BB-AEB6-0B14-76943E9C4F1F}" dt="2026-01-07T16:34:24.325" v="0"/>
          <pc:sldLayoutMkLst>
            <pc:docMk/>
            <pc:sldMasterMk cId="2460954070" sldId="2147483660"/>
            <pc:sldLayoutMk cId="1030576701" sldId="2147483672"/>
          </pc:sldLayoutMkLst>
        </pc:sldLayoutChg>
        <pc:sldLayoutChg chg="add">
          <pc:chgData name="Nikita Chandrasing" userId="S::nchandr3@gmu.edu::a6614213-6536-4d81-9686-55df5591b5b2" providerId="AD" clId="Web-{3476EB05-E0BB-AEB6-0B14-76943E9C4F1F}" dt="2026-01-07T16:40:25.589" v="37"/>
          <pc:sldLayoutMkLst>
            <pc:docMk/>
            <pc:sldMasterMk cId="2460954070" sldId="2147483660"/>
            <pc:sldLayoutMk cId="356153768" sldId="2147483673"/>
          </pc:sldLayoutMkLst>
        </pc:sldLayoutChg>
        <pc:sldLayoutChg chg="add">
          <pc:chgData name="Nikita Chandrasing" userId="S::nchandr3@gmu.edu::a6614213-6536-4d81-9686-55df5591b5b2" providerId="AD" clId="Web-{3476EB05-E0BB-AEB6-0B14-76943E9C4F1F}" dt="2026-01-07T17:06:20.836" v="38"/>
          <pc:sldLayoutMkLst>
            <pc:docMk/>
            <pc:sldMasterMk cId="2460954070" sldId="2147483660"/>
            <pc:sldLayoutMk cId="4291013893" sldId="2147483674"/>
          </pc:sldLayoutMkLst>
        </pc:sldLayoutChg>
      </pc:sldMasterChg>
    </pc:docChg>
  </pc:docChgLst>
  <pc:docChgLst>
    <pc:chgData name="Yiguedan Andy Yaro" userId="S::yyaro@gmu.edu::0bc60cd9-ce11-4c17-b712-5d9396d74f80" providerId="AD" clId="Web-{F45D24D4-71A8-79AA-B0D7-F1B6492C3612}"/>
    <pc:docChg chg="modSld">
      <pc:chgData name="Yiguedan Andy Yaro" userId="S::yyaro@gmu.edu::0bc60cd9-ce11-4c17-b712-5d9396d74f80" providerId="AD" clId="Web-{F45D24D4-71A8-79AA-B0D7-F1B6492C3612}" dt="2026-01-14T15:54:36.516" v="1" actId="20577"/>
      <pc:docMkLst>
        <pc:docMk/>
      </pc:docMkLst>
    </pc:docChg>
  </pc:docChgLst>
  <pc:docChgLst>
    <pc:chgData name="Nikita Chandrasing" userId="S::nchandr3@gmu.edu::a6614213-6536-4d81-9686-55df5591b5b2" providerId="AD" clId="Web-{E576725D-4845-6DFA-481F-7EE10D4C8341}"/>
    <pc:docChg chg="modSld">
      <pc:chgData name="Nikita Chandrasing" userId="S::nchandr3@gmu.edu::a6614213-6536-4d81-9686-55df5591b5b2" providerId="AD" clId="Web-{E576725D-4845-6DFA-481F-7EE10D4C8341}" dt="2026-01-15T18:12:31.622" v="31" actId="14100"/>
      <pc:docMkLst>
        <pc:docMk/>
      </pc:docMkLst>
      <pc:sldChg chg="modNotes">
        <pc:chgData name="Nikita Chandrasing" userId="S::nchandr3@gmu.edu::a6614213-6536-4d81-9686-55df5591b5b2" providerId="AD" clId="Web-{E576725D-4845-6DFA-481F-7EE10D4C8341}" dt="2026-01-15T18:04:58.493" v="18"/>
        <pc:sldMkLst>
          <pc:docMk/>
          <pc:sldMk cId="3176373537" sldId="2147472453"/>
        </pc:sldMkLst>
      </pc:sldChg>
      <pc:sldChg chg="modSp modNotes">
        <pc:chgData name="Nikita Chandrasing" userId="S::nchandr3@gmu.edu::a6614213-6536-4d81-9686-55df5591b5b2" providerId="AD" clId="Web-{E576725D-4845-6DFA-481F-7EE10D4C8341}" dt="2026-01-15T17:50:01.144" v="11"/>
        <pc:sldMkLst>
          <pc:docMk/>
          <pc:sldMk cId="114997428" sldId="2147472457"/>
        </pc:sldMkLst>
        <pc:spChg chg="mod">
          <ac:chgData name="Nikita Chandrasing" userId="S::nchandr3@gmu.edu::a6614213-6536-4d81-9686-55df5591b5b2" providerId="AD" clId="Web-{E576725D-4845-6DFA-481F-7EE10D4C8341}" dt="2026-01-15T17:45:47.909" v="7" actId="1076"/>
          <ac:spMkLst>
            <pc:docMk/>
            <pc:sldMk cId="114997428" sldId="2147472457"/>
            <ac:spMk id="10" creationId="{019A8CE3-57F6-9C71-C735-5140CEE5769F}"/>
          </ac:spMkLst>
        </pc:spChg>
        <pc:spChg chg="mod">
          <ac:chgData name="Nikita Chandrasing" userId="S::nchandr3@gmu.edu::a6614213-6536-4d81-9686-55df5591b5b2" providerId="AD" clId="Web-{E576725D-4845-6DFA-481F-7EE10D4C8341}" dt="2026-01-15T17:45:47.925" v="8" actId="1076"/>
          <ac:spMkLst>
            <pc:docMk/>
            <pc:sldMk cId="114997428" sldId="2147472457"/>
            <ac:spMk id="22" creationId="{B57274A3-0D53-C98A-C983-0A055A742E14}"/>
          </ac:spMkLst>
        </pc:spChg>
        <pc:picChg chg="mod">
          <ac:chgData name="Nikita Chandrasing" userId="S::nchandr3@gmu.edu::a6614213-6536-4d81-9686-55df5591b5b2" providerId="AD" clId="Web-{E576725D-4845-6DFA-481F-7EE10D4C8341}" dt="2026-01-15T17:45:36.253" v="5" actId="1076"/>
          <ac:picMkLst>
            <pc:docMk/>
            <pc:sldMk cId="114997428" sldId="2147472457"/>
            <ac:picMk id="17" creationId="{95F6C898-A3A5-5DAB-2A75-A97A11F62F25}"/>
          </ac:picMkLst>
        </pc:picChg>
        <pc:cxnChg chg="mod">
          <ac:chgData name="Nikita Chandrasing" userId="S::nchandr3@gmu.edu::a6614213-6536-4d81-9686-55df5591b5b2" providerId="AD" clId="Web-{E576725D-4845-6DFA-481F-7EE10D4C8341}" dt="2026-01-15T17:46:13.847" v="9" actId="1076"/>
          <ac:cxnSpMkLst>
            <pc:docMk/>
            <pc:sldMk cId="114997428" sldId="2147472457"/>
            <ac:cxnSpMk id="18" creationId="{3B5AE8D8-A3BA-9321-12A0-D39FE6B99B05}"/>
          </ac:cxnSpMkLst>
        </pc:cxnChg>
      </pc:sldChg>
    </pc:docChg>
  </pc:docChgLst>
  <pc:docChgLst>
    <pc:chgData name="Lakshmi Pranavi Doodala" userId="S::ldoodala@gmu.edu::e83b3efd-028e-479f-903f-2182a0b2285c" providerId="AD" clId="Web-{B6950475-C840-DD9C-F217-FD166E56F91A}"/>
    <pc:docChg chg="modSld">
      <pc:chgData name="Lakshmi Pranavi Doodala" userId="S::ldoodala@gmu.edu::e83b3efd-028e-479f-903f-2182a0b2285c" providerId="AD" clId="Web-{B6950475-C840-DD9C-F217-FD166E56F91A}" dt="2026-01-14T01:45:06.023" v="102"/>
      <pc:docMkLst>
        <pc:docMk/>
      </pc:docMkLst>
      <pc:sldChg chg="modSp">
        <pc:chgData name="Lakshmi Pranavi Doodala" userId="S::ldoodala@gmu.edu::e83b3efd-028e-479f-903f-2182a0b2285c" providerId="AD" clId="Web-{B6950475-C840-DD9C-F217-FD166E56F91A}" dt="2026-01-14T01:03:28.191" v="24" actId="20577"/>
        <pc:sldMkLst>
          <pc:docMk/>
          <pc:sldMk cId="1069076631" sldId="2147471176"/>
        </pc:sldMkLst>
        <pc:spChg chg="mod">
          <ac:chgData name="Lakshmi Pranavi Doodala" userId="S::ldoodala@gmu.edu::e83b3efd-028e-479f-903f-2182a0b2285c" providerId="AD" clId="Web-{B6950475-C840-DD9C-F217-FD166E56F91A}" dt="2026-01-14T01:03:28.191" v="24" actId="20577"/>
          <ac:spMkLst>
            <pc:docMk/>
            <pc:sldMk cId="1069076631" sldId="2147471176"/>
            <ac:spMk id="25" creationId="{F94B16A3-F9A7-EA8B-7702-FCA5C6C35ADB}"/>
          </ac:spMkLst>
        </pc:spChg>
      </pc:sldChg>
    </pc:docChg>
  </pc:docChgLst>
  <pc:docChgLst>
    <pc:chgData name="Yiguedan Andy Yaro" userId="S::yyaro@gmu.edu::0bc60cd9-ce11-4c17-b712-5d9396d74f80" providerId="AD" clId="Web-{A01073E1-39A4-9860-AD19-165DFA5F74B4}"/>
    <pc:docChg chg="modSld">
      <pc:chgData name="Yiguedan Andy Yaro" userId="S::yyaro@gmu.edu::0bc60cd9-ce11-4c17-b712-5d9396d74f80" providerId="AD" clId="Web-{A01073E1-39A4-9860-AD19-165DFA5F74B4}" dt="2026-01-15T11:03:17.774" v="35" actId="14100"/>
      <pc:docMkLst>
        <pc:docMk/>
      </pc:docMkLst>
    </pc:docChg>
  </pc:docChgLst>
  <pc:docChgLst>
    <pc:chgData name="Khaled Azmi Alkurd" userId="S::kalkurd@gmu.edu::d8a8490c-4d79-451d-b1ff-270e6eecfde3" providerId="AD" clId="Web-{B278CB60-C376-CEEA-DA9B-AA047B2DAEF4}"/>
    <pc:docChg chg="modSld">
      <pc:chgData name="Khaled Azmi Alkurd" userId="S::kalkurd@gmu.edu::d8a8490c-4d79-451d-b1ff-270e6eecfde3" providerId="AD" clId="Web-{B278CB60-C376-CEEA-DA9B-AA047B2DAEF4}" dt="2026-01-14T20:21:49.636" v="99" actId="20577"/>
      <pc:docMkLst>
        <pc:docMk/>
      </pc:docMkLst>
      <pc:sldChg chg="addSp delSp">
        <pc:chgData name="Khaled Azmi Alkurd" userId="S::kalkurd@gmu.edu::d8a8490c-4d79-451d-b1ff-270e6eecfde3" providerId="AD" clId="Web-{B278CB60-C376-CEEA-DA9B-AA047B2DAEF4}" dt="2026-01-14T20:06:03.949" v="5"/>
        <pc:sldMkLst>
          <pc:docMk/>
          <pc:sldMk cId="3720278267" sldId="2147471455"/>
        </pc:sldMkLst>
        <pc:spChg chg="add del">
          <ac:chgData name="Khaled Azmi Alkurd" userId="S::kalkurd@gmu.edu::d8a8490c-4d79-451d-b1ff-270e6eecfde3" providerId="AD" clId="Web-{B278CB60-C376-CEEA-DA9B-AA047B2DAEF4}" dt="2026-01-14T20:06:03.949" v="5"/>
          <ac:spMkLst>
            <pc:docMk/>
            <pc:sldMk cId="3720278267" sldId="2147471455"/>
            <ac:spMk id="10" creationId="{B696FEF3-69FF-49EC-758C-710F62EDA5DB}"/>
          </ac:spMkLst>
        </pc:spChg>
      </pc:sldChg>
    </pc:docChg>
  </pc:docChgLst>
  <pc:docChgLst>
    <pc:chgData name="Khaled Azmi Alkurd" userId="S::kalkurd@gmu.edu::d8a8490c-4d79-451d-b1ff-270e6eecfde3" providerId="AD" clId="Web-{29B3F401-CE2D-C69F-297C-53BC5BC7D254}"/>
    <pc:docChg chg="addSld delSld modSld sldOrd">
      <pc:chgData name="Khaled Azmi Alkurd" userId="S::kalkurd@gmu.edu::d8a8490c-4d79-451d-b1ff-270e6eecfde3" providerId="AD" clId="Web-{29B3F401-CE2D-C69F-297C-53BC5BC7D254}" dt="2026-01-15T12:46:13.100" v="843" actId="1076"/>
      <pc:docMkLst>
        <pc:docMk/>
      </pc:docMkLst>
      <pc:sldChg chg="addSp delSp modSp">
        <pc:chgData name="Khaled Azmi Alkurd" userId="S::kalkurd@gmu.edu::d8a8490c-4d79-451d-b1ff-270e6eecfde3" providerId="AD" clId="Web-{29B3F401-CE2D-C69F-297C-53BC5BC7D254}" dt="2026-01-15T10:40:33.585" v="359" actId="20577"/>
        <pc:sldMkLst>
          <pc:docMk/>
          <pc:sldMk cId="1069076631" sldId="2147471176"/>
        </pc:sldMkLst>
        <pc:spChg chg="mod">
          <ac:chgData name="Khaled Azmi Alkurd" userId="S::kalkurd@gmu.edu::d8a8490c-4d79-451d-b1ff-270e6eecfde3" providerId="AD" clId="Web-{29B3F401-CE2D-C69F-297C-53BC5BC7D254}" dt="2026-01-15T10:40:05.178" v="356" actId="14100"/>
          <ac:spMkLst>
            <pc:docMk/>
            <pc:sldMk cId="1069076631" sldId="2147471176"/>
            <ac:spMk id="4" creationId="{956DA610-1190-4180-74B8-AE3E7ECB4216}"/>
          </ac:spMkLst>
        </pc:spChg>
        <pc:spChg chg="mod">
          <ac:chgData name="Khaled Azmi Alkurd" userId="S::kalkurd@gmu.edu::d8a8490c-4d79-451d-b1ff-270e6eecfde3" providerId="AD" clId="Web-{29B3F401-CE2D-C69F-297C-53BC5BC7D254}" dt="2026-01-15T09:41:33.149" v="4" actId="1076"/>
          <ac:spMkLst>
            <pc:docMk/>
            <pc:sldMk cId="1069076631" sldId="2147471176"/>
            <ac:spMk id="5" creationId="{72A45991-FE09-63F6-1DD9-092343BE23A5}"/>
          </ac:spMkLst>
        </pc:spChg>
        <pc:spChg chg="add ord">
          <ac:chgData name="Khaled Azmi Alkurd" userId="S::kalkurd@gmu.edu::d8a8490c-4d79-451d-b1ff-270e6eecfde3" providerId="AD" clId="Web-{29B3F401-CE2D-C69F-297C-53BC5BC7D254}" dt="2026-01-15T09:44:09.104" v="19"/>
          <ac:spMkLst>
            <pc:docMk/>
            <pc:sldMk cId="1069076631" sldId="2147471176"/>
            <ac:spMk id="6" creationId="{63C5D0A5-87D0-E9B9-A11C-50EDCA14E83B}"/>
          </ac:spMkLst>
        </pc:spChg>
        <pc:spChg chg="mod">
          <ac:chgData name="Khaled Azmi Alkurd" userId="S::kalkurd@gmu.edu::d8a8490c-4d79-451d-b1ff-270e6eecfde3" providerId="AD" clId="Web-{29B3F401-CE2D-C69F-297C-53BC5BC7D254}" dt="2026-01-15T09:41:37.180" v="5" actId="14100"/>
          <ac:spMkLst>
            <pc:docMk/>
            <pc:sldMk cId="1069076631" sldId="2147471176"/>
            <ac:spMk id="8" creationId="{567EFBF7-1CCD-DF6A-6C32-1B050A4D5E12}"/>
          </ac:spMkLst>
        </pc:spChg>
        <pc:spChg chg="mod">
          <ac:chgData name="Khaled Azmi Alkurd" userId="S::kalkurd@gmu.edu::d8a8490c-4d79-451d-b1ff-270e6eecfde3" providerId="AD" clId="Web-{29B3F401-CE2D-C69F-297C-53BC5BC7D254}" dt="2026-01-15T10:40:33.585" v="359" actId="20577"/>
          <ac:spMkLst>
            <pc:docMk/>
            <pc:sldMk cId="1069076631" sldId="2147471176"/>
            <ac:spMk id="13" creationId="{77FF677C-1D53-181E-212E-2127FE888C4B}"/>
          </ac:spMkLst>
        </pc:spChg>
        <pc:spChg chg="add">
          <ac:chgData name="Khaled Azmi Alkurd" userId="S::kalkurd@gmu.edu::d8a8490c-4d79-451d-b1ff-270e6eecfde3" providerId="AD" clId="Web-{29B3F401-CE2D-C69F-297C-53BC5BC7D254}" dt="2026-01-15T09:44:14.541" v="20"/>
          <ac:spMkLst>
            <pc:docMk/>
            <pc:sldMk cId="1069076631" sldId="2147471176"/>
            <ac:spMk id="19" creationId="{120FF14F-9A98-DE3F-F70F-8CE2076F9A12}"/>
          </ac:spMkLst>
        </pc:spChg>
      </pc:sldChg>
      <pc:sldChg chg="addSp modSp">
        <pc:chgData name="Khaled Azmi Alkurd" userId="S::kalkurd@gmu.edu::d8a8490c-4d79-451d-b1ff-270e6eecfde3" providerId="AD" clId="Web-{29B3F401-CE2D-C69F-297C-53BC5BC7D254}" dt="2026-01-15T12:35:16.826" v="755" actId="1076"/>
        <pc:sldMkLst>
          <pc:docMk/>
          <pc:sldMk cId="1562903043" sldId="2147472444"/>
        </pc:sldMkLst>
        <pc:spChg chg="add mod">
          <ac:chgData name="Khaled Azmi Alkurd" userId="S::kalkurd@gmu.edu::d8a8490c-4d79-451d-b1ff-270e6eecfde3" providerId="AD" clId="Web-{29B3F401-CE2D-C69F-297C-53BC5BC7D254}" dt="2026-01-15T12:35:16.826" v="755" actId="1076"/>
          <ac:spMkLst>
            <pc:docMk/>
            <pc:sldMk cId="1562903043" sldId="2147472444"/>
            <ac:spMk id="7" creationId="{88BB30DB-D2D2-E266-9E24-3DE64652F4B7}"/>
          </ac:spMkLst>
        </pc:spChg>
        <pc:spChg chg="mod">
          <ac:chgData name="Khaled Azmi Alkurd" userId="S::kalkurd@gmu.edu::d8a8490c-4d79-451d-b1ff-270e6eecfde3" providerId="AD" clId="Web-{29B3F401-CE2D-C69F-297C-53BC5BC7D254}" dt="2026-01-15T12:34:00.339" v="739" actId="20577"/>
          <ac:spMkLst>
            <pc:docMk/>
            <pc:sldMk cId="1562903043" sldId="2147472444"/>
            <ac:spMk id="9" creationId="{7A8CE550-7088-2669-9C88-0937CA68606D}"/>
          </ac:spMkLst>
        </pc:spChg>
        <pc:spChg chg="mod">
          <ac:chgData name="Khaled Azmi Alkurd" userId="S::kalkurd@gmu.edu::d8a8490c-4d79-451d-b1ff-270e6eecfde3" providerId="AD" clId="Web-{29B3F401-CE2D-C69F-297C-53BC5BC7D254}" dt="2026-01-15T10:39:01.019" v="345" actId="20577"/>
          <ac:spMkLst>
            <pc:docMk/>
            <pc:sldMk cId="1562903043" sldId="2147472444"/>
            <ac:spMk id="10" creationId="{9F432104-4B23-2D3A-C867-7B1336E52EF5}"/>
          </ac:spMkLst>
        </pc:spChg>
      </pc:sldChg>
      <pc:sldChg chg="modSp">
        <pc:chgData name="Khaled Azmi Alkurd" userId="S::kalkurd@gmu.edu::d8a8490c-4d79-451d-b1ff-270e6eecfde3" providerId="AD" clId="Web-{29B3F401-CE2D-C69F-297C-53BC5BC7D254}" dt="2026-01-15T10:38:49.691" v="343" actId="20577"/>
        <pc:sldMkLst>
          <pc:docMk/>
          <pc:sldMk cId="1998565782" sldId="2147472446"/>
        </pc:sldMkLst>
        <pc:spChg chg="mod">
          <ac:chgData name="Khaled Azmi Alkurd" userId="S::kalkurd@gmu.edu::d8a8490c-4d79-451d-b1ff-270e6eecfde3" providerId="AD" clId="Web-{29B3F401-CE2D-C69F-297C-53BC5BC7D254}" dt="2026-01-15T10:38:49.691" v="343" actId="20577"/>
          <ac:spMkLst>
            <pc:docMk/>
            <pc:sldMk cId="1998565782" sldId="2147472446"/>
            <ac:spMk id="15" creationId="{F5A87B64-B5E5-E07A-89C4-5375429694C9}"/>
          </ac:spMkLst>
        </pc:spChg>
      </pc:sldChg>
      <pc:sldChg chg="modSp">
        <pc:chgData name="Khaled Azmi Alkurd" userId="S::kalkurd@gmu.edu::d8a8490c-4d79-451d-b1ff-270e6eecfde3" providerId="AD" clId="Web-{29B3F401-CE2D-C69F-297C-53BC5BC7D254}" dt="2026-01-15T10:39:35.052" v="348" actId="20577"/>
        <pc:sldMkLst>
          <pc:docMk/>
          <pc:sldMk cId="1561532402" sldId="2147472447"/>
        </pc:sldMkLst>
        <pc:spChg chg="mod">
          <ac:chgData name="Khaled Azmi Alkurd" userId="S::kalkurd@gmu.edu::d8a8490c-4d79-451d-b1ff-270e6eecfde3" providerId="AD" clId="Web-{29B3F401-CE2D-C69F-297C-53BC5BC7D254}" dt="2026-01-15T10:39:35.052" v="348" actId="20577"/>
          <ac:spMkLst>
            <pc:docMk/>
            <pc:sldMk cId="1561532402" sldId="2147472447"/>
            <ac:spMk id="21" creationId="{6E8ED707-1F75-C522-B9D2-2B531C27E3E9}"/>
          </ac:spMkLst>
        </pc:spChg>
      </pc:sldChg>
      <pc:sldChg chg="modSp">
        <pc:chgData name="Khaled Azmi Alkurd" userId="S::kalkurd@gmu.edu::d8a8490c-4d79-451d-b1ff-270e6eecfde3" providerId="AD" clId="Web-{29B3F401-CE2D-C69F-297C-53BC5BC7D254}" dt="2026-01-15T09:55:19.251" v="77"/>
        <pc:sldMkLst>
          <pc:docMk/>
          <pc:sldMk cId="114997428" sldId="2147472457"/>
        </pc:sldMkLst>
        <pc:spChg chg="mod">
          <ac:chgData name="Khaled Azmi Alkurd" userId="S::kalkurd@gmu.edu::d8a8490c-4d79-451d-b1ff-270e6eecfde3" providerId="AD" clId="Web-{29B3F401-CE2D-C69F-297C-53BC5BC7D254}" dt="2026-01-15T09:55:19.251" v="77"/>
          <ac:spMkLst>
            <pc:docMk/>
            <pc:sldMk cId="114997428" sldId="2147472457"/>
            <ac:spMk id="13" creationId="{9E35C518-6C0E-A38B-CBFC-4A31742F1C2B}"/>
          </ac:spMkLst>
        </pc:spChg>
      </pc:sldChg>
      <pc:sldChg chg="addSp modSp">
        <pc:chgData name="Khaled Azmi Alkurd" userId="S::kalkurd@gmu.edu::d8a8490c-4d79-451d-b1ff-270e6eecfde3" providerId="AD" clId="Web-{29B3F401-CE2D-C69F-297C-53BC5BC7D254}" dt="2026-01-15T09:47:40.020" v="75" actId="1076"/>
        <pc:sldMkLst>
          <pc:docMk/>
          <pc:sldMk cId="705894713" sldId="2147472460"/>
        </pc:sldMkLst>
        <pc:spChg chg="mod">
          <ac:chgData name="Khaled Azmi Alkurd" userId="S::kalkurd@gmu.edu::d8a8490c-4d79-451d-b1ff-270e6eecfde3" providerId="AD" clId="Web-{29B3F401-CE2D-C69F-297C-53BC5BC7D254}" dt="2026-01-15T09:42:28.087" v="12" actId="1076"/>
          <ac:spMkLst>
            <pc:docMk/>
            <pc:sldMk cId="705894713" sldId="2147472460"/>
            <ac:spMk id="5" creationId="{CF629020-9569-A5E1-A359-DF710670AE83}"/>
          </ac:spMkLst>
        </pc:spChg>
        <pc:spChg chg="mod">
          <ac:chgData name="Khaled Azmi Alkurd" userId="S::kalkurd@gmu.edu::d8a8490c-4d79-451d-b1ff-270e6eecfde3" providerId="AD" clId="Web-{29B3F401-CE2D-C69F-297C-53BC5BC7D254}" dt="2026-01-15T09:43:45.291" v="14"/>
          <ac:spMkLst>
            <pc:docMk/>
            <pc:sldMk cId="705894713" sldId="2147472460"/>
            <ac:spMk id="14" creationId="{10FB3B95-D917-DE30-B542-F6DFBB9C31E0}"/>
          </ac:spMkLst>
        </pc:spChg>
        <pc:spChg chg="add mod">
          <ac:chgData name="Khaled Azmi Alkurd" userId="S::kalkurd@gmu.edu::d8a8490c-4d79-451d-b1ff-270e6eecfde3" providerId="AD" clId="Web-{29B3F401-CE2D-C69F-297C-53BC5BC7D254}" dt="2026-01-15T09:47:40.020" v="75" actId="1076"/>
          <ac:spMkLst>
            <pc:docMk/>
            <pc:sldMk cId="705894713" sldId="2147472460"/>
            <ac:spMk id="22" creationId="{A3C53ED6-F102-A02D-A1AB-32B0B149FF7F}"/>
          </ac:spMkLst>
        </pc:spChg>
        <pc:picChg chg="mod">
          <ac:chgData name="Khaled Azmi Alkurd" userId="S::kalkurd@gmu.edu::d8a8490c-4d79-451d-b1ff-270e6eecfde3" providerId="AD" clId="Web-{29B3F401-CE2D-C69F-297C-53BC5BC7D254}" dt="2026-01-15T09:47:03.956" v="40" actId="1076"/>
          <ac:picMkLst>
            <pc:docMk/>
            <pc:sldMk cId="705894713" sldId="2147472460"/>
            <ac:picMk id="23" creationId="{B1DA0EF6-CDCA-3CF3-64B8-A54163DDE4CD}"/>
          </ac:picMkLst>
        </pc:picChg>
      </pc:sldChg>
      <pc:sldChg chg="modSp add mod ord replId modShow">
        <pc:chgData name="Khaled Azmi Alkurd" userId="S::kalkurd@gmu.edu::d8a8490c-4d79-451d-b1ff-270e6eecfde3" providerId="AD" clId="Web-{29B3F401-CE2D-C69F-297C-53BC5BC7D254}" dt="2026-01-15T11:35:53.013" v="425" actId="20577"/>
        <pc:sldMkLst>
          <pc:docMk/>
          <pc:sldMk cId="2928388623" sldId="2147472461"/>
        </pc:sldMkLst>
        <pc:spChg chg="mod">
          <ac:chgData name="Khaled Azmi Alkurd" userId="S::kalkurd@gmu.edu::d8a8490c-4d79-451d-b1ff-270e6eecfde3" providerId="AD" clId="Web-{29B3F401-CE2D-C69F-297C-53BC5BC7D254}" dt="2026-01-15T11:35:53.013" v="425" actId="20577"/>
          <ac:spMkLst>
            <pc:docMk/>
            <pc:sldMk cId="2928388623" sldId="2147472461"/>
            <ac:spMk id="2" creationId="{61A2B93A-2CF0-0FA4-B86A-0B2DE6A79AA8}"/>
          </ac:spMkLst>
        </pc:spChg>
      </pc:sldChg>
      <pc:sldChg chg="addSp delSp modSp add mod replId modShow">
        <pc:chgData name="Khaled Azmi Alkurd" userId="S::kalkurd@gmu.edu::d8a8490c-4d79-451d-b1ff-270e6eecfde3" providerId="AD" clId="Web-{29B3F401-CE2D-C69F-297C-53BC5BC7D254}" dt="2026-01-15T12:39:02.177" v="823" actId="20577"/>
        <pc:sldMkLst>
          <pc:docMk/>
          <pc:sldMk cId="72761488" sldId="2147472462"/>
        </pc:sldMkLst>
        <pc:spChg chg="mod">
          <ac:chgData name="Khaled Azmi Alkurd" userId="S::kalkurd@gmu.edu::d8a8490c-4d79-451d-b1ff-270e6eecfde3" providerId="AD" clId="Web-{29B3F401-CE2D-C69F-297C-53BC5BC7D254}" dt="2026-01-15T11:53:16.873" v="467" actId="20577"/>
          <ac:spMkLst>
            <pc:docMk/>
            <pc:sldMk cId="72761488" sldId="2147472462"/>
            <ac:spMk id="2" creationId="{A7FA2FEA-FB74-72E3-8A07-A302B45D55B5}"/>
          </ac:spMkLst>
        </pc:spChg>
        <pc:spChg chg="mod">
          <ac:chgData name="Khaled Azmi Alkurd" userId="S::kalkurd@gmu.edu::d8a8490c-4d79-451d-b1ff-270e6eecfde3" providerId="AD" clId="Web-{29B3F401-CE2D-C69F-297C-53BC5BC7D254}" dt="2026-01-15T12:39:02.177" v="823" actId="20577"/>
          <ac:spMkLst>
            <pc:docMk/>
            <pc:sldMk cId="72761488" sldId="2147472462"/>
            <ac:spMk id="6" creationId="{48F36CC8-9FB3-2E1C-25F5-3258831AF9AC}"/>
          </ac:spMkLst>
        </pc:spChg>
        <pc:spChg chg="mod">
          <ac:chgData name="Khaled Azmi Alkurd" userId="S::kalkurd@gmu.edu::d8a8490c-4d79-451d-b1ff-270e6eecfde3" providerId="AD" clId="Web-{29B3F401-CE2D-C69F-297C-53BC5BC7D254}" dt="2026-01-15T11:55:00.198" v="501" actId="20577"/>
          <ac:spMkLst>
            <pc:docMk/>
            <pc:sldMk cId="72761488" sldId="2147472462"/>
            <ac:spMk id="9" creationId="{C70C1763-2B6C-2E7C-877E-34F47BB455E4}"/>
          </ac:spMkLst>
        </pc:spChg>
        <pc:spChg chg="mod">
          <ac:chgData name="Khaled Azmi Alkurd" userId="S::kalkurd@gmu.edu::d8a8490c-4d79-451d-b1ff-270e6eecfde3" providerId="AD" clId="Web-{29B3F401-CE2D-C69F-297C-53BC5BC7D254}" dt="2026-01-15T12:06:22.088" v="717" actId="20577"/>
          <ac:spMkLst>
            <pc:docMk/>
            <pc:sldMk cId="72761488" sldId="2147472462"/>
            <ac:spMk id="10" creationId="{03AECCC8-6380-2C95-FE5E-CAF5DEA29423}"/>
          </ac:spMkLst>
        </pc:spChg>
        <pc:spChg chg="add mod">
          <ac:chgData name="Khaled Azmi Alkurd" userId="S::kalkurd@gmu.edu::d8a8490c-4d79-451d-b1ff-270e6eecfde3" providerId="AD" clId="Web-{29B3F401-CE2D-C69F-297C-53BC5BC7D254}" dt="2026-01-15T12:36:48.767" v="793" actId="20577"/>
          <ac:spMkLst>
            <pc:docMk/>
            <pc:sldMk cId="72761488" sldId="2147472462"/>
            <ac:spMk id="17" creationId="{3B224DE6-24D7-BEB2-6B6D-0EC227B2CE5C}"/>
          </ac:spMkLst>
        </pc:spChg>
        <pc:graphicFrameChg chg="mod modGraphic">
          <ac:chgData name="Khaled Azmi Alkurd" userId="S::kalkurd@gmu.edu::d8a8490c-4d79-451d-b1ff-270e6eecfde3" providerId="AD" clId="Web-{29B3F401-CE2D-C69F-297C-53BC5BC7D254}" dt="2026-01-15T12:05:48.165" v="712"/>
          <ac:graphicFrameMkLst>
            <pc:docMk/>
            <pc:sldMk cId="72761488" sldId="2147472462"/>
            <ac:graphicFrameMk id="26" creationId="{999E11CA-023C-72B2-F9A7-009951D826E2}"/>
          </ac:graphicFrameMkLst>
        </pc:graphicFrameChg>
        <pc:picChg chg="add mod modCrop">
          <ac:chgData name="Khaled Azmi Alkurd" userId="S::kalkurd@gmu.edu::d8a8490c-4d79-451d-b1ff-270e6eecfde3" providerId="AD" clId="Web-{29B3F401-CE2D-C69F-297C-53BC5BC7D254}" dt="2026-01-15T11:45:22.614" v="448" actId="14100"/>
          <ac:picMkLst>
            <pc:docMk/>
            <pc:sldMk cId="72761488" sldId="2147472462"/>
            <ac:picMk id="7" creationId="{D851B2E5-4CC0-1714-880A-A5A5534864BB}"/>
          </ac:picMkLst>
        </pc:picChg>
        <pc:picChg chg="add mod modCrop">
          <ac:chgData name="Khaled Azmi Alkurd" userId="S::kalkurd@gmu.edu::d8a8490c-4d79-451d-b1ff-270e6eecfde3" providerId="AD" clId="Web-{29B3F401-CE2D-C69F-297C-53BC5BC7D254}" dt="2026-01-15T12:28:30.863" v="730" actId="14100"/>
          <ac:picMkLst>
            <pc:docMk/>
            <pc:sldMk cId="72761488" sldId="2147472462"/>
            <ac:picMk id="15" creationId="{A1ACB9DB-18E7-874B-10E1-179AA51EEC38}"/>
          </ac:picMkLst>
        </pc:picChg>
      </pc:sldChg>
    </pc:docChg>
  </pc:docChgLst>
  <pc:docChgLst>
    <pc:chgData name="Yiguedan Andy Yaro" userId="S::yyaro@gmu.edu::0bc60cd9-ce11-4c17-b712-5d9396d74f80" providerId="AD" clId="Web-{9F6FB3BD-FA53-CF46-B0A5-F07146333BE0}"/>
    <pc:docChg chg="modSld">
      <pc:chgData name="Yiguedan Andy Yaro" userId="S::yyaro@gmu.edu::0bc60cd9-ce11-4c17-b712-5d9396d74f80" providerId="AD" clId="Web-{9F6FB3BD-FA53-CF46-B0A5-F07146333BE0}" dt="2026-01-15T12:12:54.640" v="33" actId="20577"/>
      <pc:docMkLst>
        <pc:docMk/>
      </pc:docMkLst>
    </pc:docChg>
  </pc:docChgLst>
  <pc:docChgLst>
    <pc:chgData name="Marmawite T Debas" userId="S::mdebas@gmu.edu::0027610f-a03a-422b-84df-f8af5dfca277" providerId="AD" clId="Web-{662494C4-DE9A-64BD-C606-8FA362A6C2B8}"/>
    <pc:docChg chg="modSld">
      <pc:chgData name="Marmawite T Debas" userId="S::mdebas@gmu.edu::0027610f-a03a-422b-84df-f8af5dfca277" providerId="AD" clId="Web-{662494C4-DE9A-64BD-C606-8FA362A6C2B8}" dt="2026-01-15T19:35:42.297" v="35"/>
      <pc:docMkLst>
        <pc:docMk/>
      </pc:docMkLst>
      <pc:sldChg chg="modNotes">
        <pc:chgData name="Marmawite T Debas" userId="S::mdebas@gmu.edu::0027610f-a03a-422b-84df-f8af5dfca277" providerId="AD" clId="Web-{662494C4-DE9A-64BD-C606-8FA362A6C2B8}" dt="2026-01-15T19:32:34.313" v="23"/>
        <pc:sldMkLst>
          <pc:docMk/>
          <pc:sldMk cId="1562903043" sldId="2147472444"/>
        </pc:sldMkLst>
      </pc:sldChg>
      <pc:sldChg chg="modNotes">
        <pc:chgData name="Marmawite T Debas" userId="S::mdebas@gmu.edu::0027610f-a03a-422b-84df-f8af5dfca277" providerId="AD" clId="Web-{662494C4-DE9A-64BD-C606-8FA362A6C2B8}" dt="2026-01-15T19:02:30.536" v="15"/>
        <pc:sldMkLst>
          <pc:docMk/>
          <pc:sldMk cId="72761488" sldId="2147472462"/>
        </pc:sldMkLst>
      </pc:sldChg>
    </pc:docChg>
  </pc:docChgLst>
  <pc:docChgLst>
    <pc:chgData name="Khaled Azmi Alkurd" userId="S::kalkurd@gmu.edu::d8a8490c-4d79-451d-b1ff-270e6eecfde3" providerId="AD" clId="Web-{D286C96A-E6DF-D1CB-57F9-AEF84511D696}"/>
    <pc:docChg chg="modSld">
      <pc:chgData name="Khaled Azmi Alkurd" userId="S::kalkurd@gmu.edu::d8a8490c-4d79-451d-b1ff-270e6eecfde3" providerId="AD" clId="Web-{D286C96A-E6DF-D1CB-57F9-AEF84511D696}" dt="2026-01-14T04:12:47.464" v="166" actId="1076"/>
      <pc:docMkLst>
        <pc:docMk/>
      </pc:docMkLst>
    </pc:docChg>
  </pc:docChgLst>
  <pc:docChgLst>
    <pc:chgData name="Khaled Azmi Alkurd" userId="S::kalkurd@gmu.edu::d8a8490c-4d79-451d-b1ff-270e6eecfde3" providerId="AD" clId="Web-{C70DB4F5-2766-51AB-AC15-3B510C078A50}"/>
    <pc:docChg chg="modSld">
      <pc:chgData name="Khaled Azmi Alkurd" userId="S::kalkurd@gmu.edu::d8a8490c-4d79-451d-b1ff-270e6eecfde3" providerId="AD" clId="Web-{C70DB4F5-2766-51AB-AC15-3B510C078A50}" dt="2026-01-18T22:36:16.197" v="3"/>
      <pc:docMkLst>
        <pc:docMk/>
      </pc:docMkLst>
      <pc:sldChg chg="addSp delSp">
        <pc:chgData name="Khaled Azmi Alkurd" userId="S::kalkurd@gmu.edu::d8a8490c-4d79-451d-b1ff-270e6eecfde3" providerId="AD" clId="Web-{C70DB4F5-2766-51AB-AC15-3B510C078A50}" dt="2026-01-18T22:36:16.197" v="3"/>
        <pc:sldMkLst>
          <pc:docMk/>
          <pc:sldMk cId="158379550" sldId="2305"/>
        </pc:sldMkLst>
        <pc:picChg chg="add del">
          <ac:chgData name="Khaled Azmi Alkurd" userId="S::kalkurd@gmu.edu::d8a8490c-4d79-451d-b1ff-270e6eecfde3" providerId="AD" clId="Web-{C70DB4F5-2766-51AB-AC15-3B510C078A50}" dt="2026-01-18T22:36:16.197" v="3"/>
          <ac:picMkLst>
            <pc:docMk/>
            <pc:sldMk cId="158379550" sldId="2305"/>
            <ac:picMk id="5" creationId="{8A9FB0B7-DD19-DB64-EAE3-8E59CBF62FDA}"/>
          </ac:picMkLst>
        </pc:picChg>
      </pc:sldChg>
      <pc:sldChg chg="addSp delSp">
        <pc:chgData name="Khaled Azmi Alkurd" userId="S::kalkurd@gmu.edu::d8a8490c-4d79-451d-b1ff-270e6eecfde3" providerId="AD" clId="Web-{C70DB4F5-2766-51AB-AC15-3B510C078A50}" dt="2026-01-18T22:08:41.189" v="1"/>
        <pc:sldMkLst>
          <pc:docMk/>
          <pc:sldMk cId="705894713" sldId="2147472460"/>
        </pc:sldMkLst>
        <pc:picChg chg="add del">
          <ac:chgData name="Khaled Azmi Alkurd" userId="S::kalkurd@gmu.edu::d8a8490c-4d79-451d-b1ff-270e6eecfde3" providerId="AD" clId="Web-{C70DB4F5-2766-51AB-AC15-3B510C078A50}" dt="2026-01-18T22:08:41.189" v="1"/>
          <ac:picMkLst>
            <pc:docMk/>
            <pc:sldMk cId="705894713" sldId="2147472460"/>
            <ac:picMk id="12" creationId="{E76AE0FF-0243-61C3-9FD7-D9712762E06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BB8F73-C90C-457F-8A60-ADA491B5758F}" type="datetimeFigureOut">
              <a:t>1/18/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EDE8EB-D8FD-45B4-B835-E0178FFBD4F6}" type="slidenum">
              <a:t>‹#›</a:t>
            </a:fld>
            <a:endParaRPr lang="en-US"/>
          </a:p>
        </p:txBody>
      </p:sp>
    </p:spTree>
    <p:extLst>
      <p:ext uri="{BB962C8B-B14F-4D97-AF65-F5344CB8AC3E}">
        <p14:creationId xmlns:p14="http://schemas.microsoft.com/office/powerpoint/2010/main" val="2864955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r>
              <a:rPr lang="en-DK" sz="2200">
                <a:latin typeface="Arial"/>
                <a:cs typeface="Arial"/>
              </a:rPr>
              <a:t>Pranavi</a:t>
            </a:r>
          </a:p>
          <a:p>
            <a:pPr>
              <a:buSzPts val="1900"/>
            </a:pPr>
            <a:r>
              <a:rPr lang="en-DK" sz="2200">
                <a:latin typeface="Arial"/>
                <a:cs typeface="Arial"/>
              </a:rPr>
              <a:t>Good afternoon, we are the Fiscal Patriots! Addressing use case 2: </a:t>
            </a:r>
            <a:endParaRPr lang="en-DK" sz="2200">
              <a:solidFill>
                <a:srgbClr val="000000"/>
              </a:solidFill>
              <a:latin typeface="Arial" panose="020B0604020202020204" pitchFamily="34" charset="0"/>
              <a:cs typeface="Arial" panose="020B0604020202020204" pitchFamily="34" charset="0"/>
            </a:endParaRPr>
          </a:p>
          <a:p>
            <a:pPr>
              <a:buSzPts val="1900"/>
            </a:pPr>
            <a:r>
              <a:rPr lang="en-US" b="1" u="sng">
                <a:solidFill>
                  <a:srgbClr val="687088"/>
                </a:solidFill>
              </a:rPr>
              <a:t>Promote Financial Literacy: Visualizing Government Expenditures</a:t>
            </a:r>
            <a:endParaRPr lang="en-DK" sz="2200">
              <a:latin typeface="Arial" panose="020B0604020202020204" pitchFamily="34" charset="0"/>
              <a:cs typeface="Arial" panose="020B0604020202020204" pitchFamily="34" charset="0"/>
            </a:endParaRPr>
          </a:p>
          <a:p>
            <a:pPr>
              <a:buSzPts val="1900"/>
            </a:pPr>
            <a:r>
              <a:rPr lang="en-US" b="1">
                <a:solidFill>
                  <a:srgbClr val="687088"/>
                </a:solidFill>
              </a:rPr>
              <a:t>Challenge:</a:t>
            </a:r>
            <a:r>
              <a:rPr lang="en-US">
                <a:solidFill>
                  <a:srgbClr val="687088"/>
                </a:solidFill>
              </a:rPr>
              <a:t> Develop innovative and interactive visualizations using data from sources like FiscalData.Treasury.gov and usaspending.gov to make government spending more understandable for the public.</a:t>
            </a:r>
            <a:endParaRPr lang="en-DK"/>
          </a:p>
          <a:p>
            <a:pPr>
              <a:buSzPts val="1900"/>
            </a:pPr>
            <a:r>
              <a:rPr lang="en-US" b="1">
                <a:solidFill>
                  <a:srgbClr val="687088"/>
                </a:solidFill>
              </a:rPr>
              <a:t>Goal/Objective:</a:t>
            </a:r>
            <a:r>
              <a:rPr lang="en-US">
                <a:solidFill>
                  <a:srgbClr val="687088"/>
                </a:solidFill>
              </a:rPr>
              <a:t> Promote financial literacy and increase engagement with government-focused datasets.</a:t>
            </a:r>
            <a:endParaRPr lang="en-DK"/>
          </a:p>
          <a:p>
            <a:pPr>
              <a:buSzPts val="1900"/>
            </a:pPr>
            <a:br>
              <a:rPr lang="en-US"/>
            </a:br>
            <a:endParaRPr lang="en-US"/>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axpayer Protection Score turns complex audit data into a simple 0-100 score.</a:t>
            </a:r>
          </a:p>
          <a:p>
            <a:r>
              <a:rPr lang="en-US"/>
              <a:t> </a:t>
            </a:r>
            <a:endParaRPr lang="en-US">
              <a:ea typeface="Calibri"/>
              <a:cs typeface="Calibri"/>
            </a:endParaRPr>
          </a:p>
          <a:p>
            <a:r>
              <a:rPr lang="en-US"/>
              <a:t>Here's how it works: We start at 100 and subtract points for risk factors.</a:t>
            </a:r>
            <a:endParaRPr lang="en-US">
              <a:ea typeface="Calibri"/>
              <a:cs typeface="Calibri"/>
            </a:endParaRPr>
          </a:p>
          <a:p>
            <a:r>
              <a:rPr lang="en-US"/>
              <a:t>Going Concern is the most severe — 25 points — it means auditors doubt the entity can continue operating.</a:t>
            </a:r>
            <a:endParaRPr lang="en-US">
              <a:ea typeface="Calibri"/>
              <a:cs typeface="Calibri"/>
            </a:endParaRPr>
          </a:p>
          <a:p>
            <a:r>
              <a:rPr lang="en-US"/>
              <a:t>Material weaknesses, repeat findings, and questioned costs add up fast.</a:t>
            </a:r>
            <a:endParaRPr lang="en-US">
              <a:ea typeface="Calibri"/>
              <a:cs typeface="Calibri"/>
            </a:endParaRPr>
          </a:p>
          <a:p>
            <a:r>
              <a:rPr lang="en-US"/>
              <a:t> </a:t>
            </a:r>
            <a:endParaRPr lang="en-US">
              <a:ea typeface="Calibri"/>
              <a:cs typeface="Calibri"/>
            </a:endParaRPr>
          </a:p>
          <a:p>
            <a:r>
              <a:rPr lang="en-US"/>
              <a:t>But we also give credit back. Entities with clean track records or corrective action plans earn points back.</a:t>
            </a:r>
          </a:p>
          <a:p>
            <a:r>
              <a:rPr lang="en-US"/>
              <a:t>The result? Three clear tiers: Red for High Risk, Yellow for Moderate, Green for Low Risk.</a:t>
            </a:r>
            <a:endParaRPr lang="en-US">
              <a:ea typeface="Calibri"/>
              <a:cs typeface="Calibri"/>
            </a:endParaRPr>
          </a:p>
          <a:p>
            <a:r>
              <a:rPr lang="en-US"/>
              <a:t> </a:t>
            </a:r>
            <a:endParaRPr lang="en-US">
              <a:ea typeface="Calibri"/>
              <a:cs typeface="Calibri"/>
            </a:endParaRPr>
          </a:p>
          <a:p>
            <a:r>
              <a:rPr lang="en-US"/>
              <a:t>Now let's apply this score to real federal funding data.</a:t>
            </a:r>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10</a:t>
            </a:fld>
            <a:endParaRPr lang="en-US"/>
          </a:p>
        </p:txBody>
      </p:sp>
    </p:spTree>
    <p:extLst>
      <p:ext uri="{BB962C8B-B14F-4D97-AF65-F5344CB8AC3E}">
        <p14:creationId xmlns:p14="http://schemas.microsoft.com/office/powerpoint/2010/main" val="991278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2EA5F-4483-063C-2388-B896617CEC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C9AC3B-BFB9-F4C5-1333-5BAF6C22F4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287B0E-783A-52D0-BAAE-79F810873E07}"/>
              </a:ext>
            </a:extLst>
          </p:cNvPr>
          <p:cNvSpPr>
            <a:spLocks noGrp="1"/>
          </p:cNvSpPr>
          <p:nvPr>
            <p:ph type="body" idx="1"/>
          </p:nvPr>
        </p:nvSpPr>
        <p:spPr/>
        <p:txBody>
          <a:bodyPr/>
          <a:lstStyle/>
          <a:p>
            <a:r>
              <a:rPr lang="en-US"/>
              <a:t>Our weights aren't arbitrary — they're grounded in federal audit standards.</a:t>
            </a:r>
          </a:p>
          <a:p>
            <a:r>
              <a:rPr lang="en-US"/>
              <a:t> </a:t>
            </a:r>
            <a:endParaRPr lang="en-US">
              <a:ea typeface="Calibri"/>
              <a:cs typeface="Calibri"/>
            </a:endParaRPr>
          </a:p>
          <a:p>
            <a:r>
              <a:rPr lang="en-US"/>
              <a:t>Going Concern at the top, 25 points — that's AU-C 570, the auditor's most severe warning.</a:t>
            </a:r>
            <a:endParaRPr lang="en-US">
              <a:ea typeface="Calibri"/>
              <a:cs typeface="Calibri"/>
            </a:endParaRPr>
          </a:p>
          <a:p>
            <a:r>
              <a:rPr lang="en-US"/>
              <a:t>Material weaknesses, repeat findings, questioned costs — each mapped to specific CFR citations.</a:t>
            </a:r>
            <a:endParaRPr lang="en-US">
              <a:ea typeface="Calibri"/>
              <a:cs typeface="Calibri"/>
            </a:endParaRPr>
          </a:p>
          <a:p>
            <a:r>
              <a:rPr lang="en-US"/>
              <a:t>But here's what validates our approach: we ran a Random Forest model on the data.</a:t>
            </a:r>
            <a:endParaRPr lang="en-US">
              <a:ea typeface="Calibri"/>
              <a:cs typeface="Calibri"/>
            </a:endParaRPr>
          </a:p>
          <a:p>
            <a:r>
              <a:rPr lang="en-US"/>
              <a:t> </a:t>
            </a:r>
            <a:endParaRPr lang="en-US">
              <a:ea typeface="Calibri"/>
              <a:cs typeface="Calibri"/>
            </a:endParaRPr>
          </a:p>
          <a:p>
            <a:r>
              <a:rPr lang="en-US"/>
              <a:t>The machine learning independently confirmed our weights. Going Concern, Material Weakness, Repeat Findings — the model ranked them the same way we did.</a:t>
            </a:r>
          </a:p>
          <a:p>
            <a:r>
              <a:rPr lang="en-US"/>
              <a:t>Built on law. Proven by math. A transparent standard for federal risk.</a:t>
            </a:r>
            <a:endParaRPr lang="en-US">
              <a:ea typeface="Calibri"/>
              <a:cs typeface="Calibri"/>
            </a:endParaRPr>
          </a:p>
        </p:txBody>
      </p:sp>
      <p:sp>
        <p:nvSpPr>
          <p:cNvPr id="4" name="Slide Number Placeholder 3">
            <a:extLst>
              <a:ext uri="{FF2B5EF4-FFF2-40B4-BE49-F238E27FC236}">
                <a16:creationId xmlns:a16="http://schemas.microsoft.com/office/drawing/2014/main" id="{54D63C20-1E72-417B-453D-B735ADE72287}"/>
              </a:ext>
            </a:extLst>
          </p:cNvPr>
          <p:cNvSpPr>
            <a:spLocks noGrp="1"/>
          </p:cNvSpPr>
          <p:nvPr>
            <p:ph type="sldNum" sz="quarter" idx="5"/>
          </p:nvPr>
        </p:nvSpPr>
        <p:spPr/>
        <p:txBody>
          <a:bodyPr/>
          <a:lstStyle/>
          <a:p>
            <a:fld id="{B6EDE8EB-D8FD-45B4-B835-E0178FFBD4F6}" type="slidenum">
              <a:rPr lang="en-US"/>
              <a:t>11</a:t>
            </a:fld>
            <a:endParaRPr lang="en-US"/>
          </a:p>
        </p:txBody>
      </p:sp>
    </p:spTree>
    <p:extLst>
      <p:ext uri="{BB962C8B-B14F-4D97-AF65-F5344CB8AC3E}">
        <p14:creationId xmlns:p14="http://schemas.microsoft.com/office/powerpoint/2010/main" val="3678451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a typeface="Calibri"/>
                <a:cs typeface="Calibri"/>
              </a:rPr>
              <a:t>Nikita</a:t>
            </a:r>
          </a:p>
          <a:p>
            <a:endParaRPr lang="en-GB">
              <a:ea typeface="Calibri"/>
              <a:cs typeface="Calibri"/>
            </a:endParaRPr>
          </a:p>
          <a:p>
            <a:r>
              <a:rPr lang="en-GB"/>
              <a:t>"Now here's where our analysis reveals something shocking." "$1.09 trillion in taxpayer dollars went to high-risk entities - recipients that auditors flagged for repeated failures. Green dot - Compare that to low-risk entities - those with clean audit histories and proven track records. They received just $372 billion." Entities that auditors repeatedly flagged for control failures, material weaknesses, and questioned costs are receiving three times more federal funding than entities with clean records.</a:t>
            </a:r>
            <a:endParaRPr lang="en-GB">
              <a:ea typeface="Calibri"/>
              <a:cs typeface="Calibri"/>
            </a:endParaRPr>
          </a:p>
          <a:p>
            <a:r>
              <a:rPr lang="en-GB"/>
              <a:t>82%  went to entities in the high or moderate risk categories. Only 18% went to proven, low-risk recipients."</a:t>
            </a:r>
            <a:endParaRPr lang="en-GB">
              <a:ea typeface="Calibri"/>
              <a:cs typeface="Calibri"/>
            </a:endParaRPr>
          </a:p>
          <a:p>
            <a:endParaRPr lang="en-GB">
              <a:ea typeface="Calibri"/>
              <a:cs typeface="Calibri"/>
            </a:endParaRPr>
          </a:p>
          <a:p>
            <a:r>
              <a:rPr lang="en-GB">
                <a:ea typeface="Calibri"/>
                <a:cs typeface="Calibri"/>
              </a:rPr>
              <a:t>The point - </a:t>
            </a:r>
            <a:r>
              <a:rPr lang="en-GB"/>
              <a:t>"This is the paradox at the heart of federal accountability. In theory, audit findings should be red flags. They should trigger enhanced scrutiny, reduced funding, or corrective action requirements."</a:t>
            </a:r>
            <a:endParaRPr lang="en-GB">
              <a:ea typeface="Calibri"/>
              <a:cs typeface="Calibri"/>
            </a:endParaRPr>
          </a:p>
          <a:p>
            <a:endParaRPr lang="en-GB">
              <a:ea typeface="Calibri"/>
              <a:cs typeface="Calibri"/>
            </a:endParaRPr>
          </a:p>
          <a:p>
            <a:r>
              <a:rPr lang="en-GB"/>
              <a:t>"But in practice? Audit failures don't stop the money. There's no consequence for poor controls. No incentive for improvement. The system is actually rewarding risk instead of punishing it."</a:t>
            </a:r>
            <a:endParaRPr lang="en-GB">
              <a:ea typeface="Calibri" panose="020F0502020204030204"/>
              <a:cs typeface="Calibri" panose="020F0502020204030204"/>
            </a:endParaRPr>
          </a:p>
          <a:p>
            <a:endParaRPr lang="en-GB">
              <a:ea typeface="Calibri" panose="020F0502020204030204"/>
              <a:cs typeface="Calibri" panose="020F0502020204030204"/>
            </a:endParaRPr>
          </a:p>
          <a:p>
            <a:r>
              <a:rPr lang="en-GB"/>
              <a:t>We're tracking 42,222 audited entities that received $2.06 trillion in federal funding over this period. This isn't a small sample - this is comprehensive."</a:t>
            </a:r>
            <a:endParaRPr lang="en-GB">
              <a:ea typeface="Calibri"/>
              <a:cs typeface="Calibri"/>
            </a:endParaRPr>
          </a:p>
          <a:p>
            <a:r>
              <a:rPr lang="en-GB"/>
              <a:t>The distribution: "The chart shows it clearly - the number of recipients is fairly distributed across risk tiers. But the funding? Massively skewed toward high-risk entities."</a:t>
            </a:r>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3928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97E23-36CB-3B42-8D1F-5A079F8F77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E7BE62-0102-99F1-F2A8-27771BF089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C06C2F-FE0B-5B4D-D252-1CC31DBCB60D}"/>
              </a:ext>
            </a:extLst>
          </p:cNvPr>
          <p:cNvSpPr>
            <a:spLocks noGrp="1"/>
          </p:cNvSpPr>
          <p:nvPr>
            <p:ph type="body" idx="1"/>
          </p:nvPr>
        </p:nvSpPr>
        <p:spPr/>
        <p:txBody>
          <a:bodyPr/>
          <a:lstStyle/>
          <a:p>
            <a:r>
              <a:rPr lang="en-US"/>
              <a:t>Now I want to show you the most critical situation in our analysis—what happens when a state's TPS score hits absolute zero. This means they've completely exhausted their federal audit coverage."</a:t>
            </a:r>
          </a:p>
          <a:p>
            <a:endParaRPr lang="en-US">
              <a:ea typeface="Calibri"/>
              <a:cs typeface="Calibri"/>
            </a:endParaRPr>
          </a:p>
          <a:p>
            <a:r>
              <a:rPr lang="en-US"/>
              <a:t>Ten state governments currently have a TPS score of zero, meaning they've completely exhausted federal audit coverage while managing $2.11 trillion in federal expenditures. California leads with $570 billion, and Massachusetts has identified 233 material weaknesses yet lacks adequate oversight capacity. This represents maximum risk, maximum funding, and minimum accountability—which is exactly why we need a systematic solution.</a:t>
            </a:r>
          </a:p>
        </p:txBody>
      </p:sp>
      <p:sp>
        <p:nvSpPr>
          <p:cNvPr id="4" name="Slide Number Placeholder 3">
            <a:extLst>
              <a:ext uri="{FF2B5EF4-FFF2-40B4-BE49-F238E27FC236}">
                <a16:creationId xmlns:a16="http://schemas.microsoft.com/office/drawing/2014/main" id="{ABA5DB28-2A69-399E-19AB-85C7966D2BAB}"/>
              </a:ext>
            </a:extLst>
          </p:cNvPr>
          <p:cNvSpPr>
            <a:spLocks noGrp="1"/>
          </p:cNvSpPr>
          <p:nvPr>
            <p:ph type="sldNum" sz="quarter" idx="5"/>
          </p:nvPr>
        </p:nvSpPr>
        <p:spPr/>
        <p:txBody>
          <a:bodyPr/>
          <a:lstStyle/>
          <a:p>
            <a:fld id="{B6EDE8EB-D8FD-45B4-B835-E0178FFBD4F6}" type="slidenum">
              <a:rPr lang="en-US"/>
              <a:t>13</a:t>
            </a:fld>
            <a:endParaRPr lang="en-US"/>
          </a:p>
        </p:txBody>
      </p:sp>
    </p:spTree>
    <p:extLst>
      <p:ext uri="{BB962C8B-B14F-4D97-AF65-F5344CB8AC3E}">
        <p14:creationId xmlns:p14="http://schemas.microsoft.com/office/powerpoint/2010/main" val="32462055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41C65-6AAA-DBDD-E0D9-EAE377D7C8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6805C-23D5-AE91-7995-6C7433CF6C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1960B8-ADAD-6736-F980-CF70ECFAB440}"/>
              </a:ext>
            </a:extLst>
          </p:cNvPr>
          <p:cNvSpPr>
            <a:spLocks noGrp="1"/>
          </p:cNvSpPr>
          <p:nvPr>
            <p:ph type="body" idx="1"/>
          </p:nvPr>
        </p:nvSpPr>
        <p:spPr/>
        <p:txBody>
          <a:bodyPr/>
          <a:lstStyle/>
          <a:p>
            <a:r>
              <a:rPr lang="en-US">
                <a:highlight>
                  <a:srgbClr val="FFFFFF"/>
                </a:highlight>
                <a:ea typeface="Calibri"/>
                <a:cs typeface="Calibri"/>
              </a:rPr>
              <a:t>Nikita</a:t>
            </a:r>
            <a:endParaRPr lang="en-US">
              <a:highlight>
                <a:srgbClr val="FFFFFF"/>
              </a:highlight>
            </a:endParaRPr>
          </a:p>
          <a:p>
            <a:r>
              <a:rPr lang="en-US">
                <a:highlight>
                  <a:srgbClr val="FFFFFF"/>
                </a:highlight>
              </a:rPr>
              <a:t>Next, lets take a look at what happens when exclusions are not enforced at the point of payment.</a:t>
            </a:r>
            <a:endParaRPr lang="en-US"/>
          </a:p>
          <a:p>
            <a:r>
              <a:rPr lang="en-US" b="1">
                <a:highlight>
                  <a:srgbClr val="FFFFFF"/>
                </a:highlight>
              </a:rPr>
              <a:t>The U.S. Department of Housing and Urban Development</a:t>
            </a:r>
            <a:r>
              <a:rPr lang="en-US">
                <a:highlight>
                  <a:srgbClr val="FFFFFF"/>
                </a:highlight>
              </a:rPr>
              <a:t> runs several programs that fund affordable housing. One of the largest is the </a:t>
            </a:r>
            <a:r>
              <a:rPr lang="en-US" b="1">
                <a:highlight>
                  <a:srgbClr val="FFFFFF"/>
                </a:highlight>
              </a:rPr>
              <a:t>Housing Choice Voucher Program</a:t>
            </a:r>
            <a:r>
              <a:rPr lang="en-US">
                <a:highlight>
                  <a:srgbClr val="FFFFFF"/>
                </a:highlight>
              </a:rPr>
              <a:t>, commonly known as </a:t>
            </a:r>
            <a:r>
              <a:rPr lang="en-US" b="1">
                <a:highlight>
                  <a:srgbClr val="FFFFFF"/>
                </a:highlight>
              </a:rPr>
              <a:t>Section 8</a:t>
            </a:r>
            <a:r>
              <a:rPr lang="en-US">
                <a:highlight>
                  <a:srgbClr val="FFFFFF"/>
                </a:highlight>
              </a:rPr>
              <a:t>. Under this program, low-income tenants receive vouchers that cover part of their rent. The federal government funds those subsidies, but </a:t>
            </a:r>
            <a:r>
              <a:rPr lang="en-US" b="1">
                <a:highlight>
                  <a:srgbClr val="FFFFFF"/>
                </a:highlight>
              </a:rPr>
              <a:t>local Public Housing Agencies</a:t>
            </a:r>
            <a:r>
              <a:rPr lang="en-US">
                <a:highlight>
                  <a:srgbClr val="FFFFFF"/>
                </a:highlight>
              </a:rPr>
              <a:t>, or PHAs, actually send the payments directly to landlords every month.</a:t>
            </a:r>
            <a:endParaRPr lang="en-US">
              <a:highlight>
                <a:srgbClr val="FFFFFF"/>
              </a:highlight>
              <a:ea typeface="Calibri"/>
              <a:cs typeface="Calibri"/>
            </a:endParaRPr>
          </a:p>
          <a:p>
            <a:r>
              <a:rPr lang="en-US">
                <a:highlight>
                  <a:srgbClr val="FFFFFF"/>
                </a:highlight>
              </a:rPr>
              <a:t>Separately, HUD has the authority to </a:t>
            </a:r>
            <a:r>
              <a:rPr lang="en-US" b="1">
                <a:highlight>
                  <a:srgbClr val="FFFFFF"/>
                </a:highlight>
              </a:rPr>
              <a:t>exclude entities</a:t>
            </a:r>
            <a:r>
              <a:rPr lang="en-US">
                <a:highlight>
                  <a:srgbClr val="FFFFFF"/>
                </a:highlight>
              </a:rPr>
              <a:t> from participating in its programs.  Once an entity is excluded, it is </a:t>
            </a:r>
            <a:r>
              <a:rPr lang="en-US" b="1">
                <a:highlight>
                  <a:srgbClr val="FFFFFF"/>
                </a:highlight>
              </a:rPr>
              <a:t>no longer eligible to receive federal funds</a:t>
            </a:r>
            <a:r>
              <a:rPr lang="en-US">
                <a:highlight>
                  <a:srgbClr val="FFFFFF"/>
                </a:highlight>
              </a:rPr>
              <a:t> from HUD.</a:t>
            </a:r>
            <a:endParaRPr lang="en-US">
              <a:highlight>
                <a:srgbClr val="FFFFFF"/>
              </a:highlight>
              <a:ea typeface="Calibri"/>
              <a:cs typeface="Calibri"/>
            </a:endParaRPr>
          </a:p>
          <a:p>
            <a:r>
              <a:rPr lang="en-US">
                <a:highlight>
                  <a:srgbClr val="FFFFFF"/>
                </a:highlight>
              </a:rPr>
              <a:t>Prince Hall Village Charitable Trust was a housing development in Texas that </a:t>
            </a:r>
            <a:r>
              <a:rPr lang="en-US" b="1">
                <a:highlight>
                  <a:srgbClr val="FFFFFF"/>
                </a:highlight>
              </a:rPr>
              <a:t>was permanently excluded by HUD in 1997</a:t>
            </a:r>
            <a:r>
              <a:rPr lang="en-US">
                <a:highlight>
                  <a:srgbClr val="FFFFFF"/>
                </a:highlight>
              </a:rPr>
              <a:t>. That exclusion was indefinite and remains active today.</a:t>
            </a:r>
            <a:endParaRPr lang="en-US">
              <a:highlight>
                <a:srgbClr val="FFFFFF"/>
              </a:highlight>
              <a:ea typeface="Calibri"/>
              <a:cs typeface="Calibri"/>
            </a:endParaRPr>
          </a:p>
          <a:p>
            <a:r>
              <a:rPr lang="en-US">
                <a:highlight>
                  <a:srgbClr val="FFFFFF"/>
                </a:highlight>
              </a:rPr>
              <a:t>Despite this, the organization </a:t>
            </a:r>
            <a:r>
              <a:rPr lang="en-US" b="1">
                <a:highlight>
                  <a:srgbClr val="FFFFFF"/>
                </a:highlight>
              </a:rPr>
              <a:t>continued receiving Section 8 Housing Choice Voucher payments through at least 2022</a:t>
            </a:r>
            <a:r>
              <a:rPr lang="en-US">
                <a:highlight>
                  <a:srgbClr val="FFFFFF"/>
                </a:highlight>
              </a:rPr>
              <a:t>, totaling approximately </a:t>
            </a:r>
            <a:r>
              <a:rPr lang="en-US" b="1">
                <a:highlight>
                  <a:srgbClr val="FFFFFF"/>
                </a:highlight>
              </a:rPr>
              <a:t>two million dollars</a:t>
            </a:r>
            <a:r>
              <a:rPr lang="en-US">
                <a:highlight>
                  <a:srgbClr val="FFFFFF"/>
                </a:highlight>
              </a:rPr>
              <a:t> in federal funds over 28 years. This was discovered during an audit when the property was sold to a 3</a:t>
            </a:r>
            <a:r>
              <a:rPr lang="en-US" baseline="30000">
                <a:highlight>
                  <a:srgbClr val="FFFFFF"/>
                </a:highlight>
              </a:rPr>
              <a:t>rd</a:t>
            </a:r>
            <a:r>
              <a:rPr lang="en-US">
                <a:highlight>
                  <a:srgbClr val="FFFFFF"/>
                </a:highlight>
              </a:rPr>
              <a:t> party.</a:t>
            </a:r>
            <a:endParaRPr lang="en-US">
              <a:highlight>
                <a:srgbClr val="FFFFFF"/>
              </a:highlight>
              <a:ea typeface="Calibri"/>
              <a:cs typeface="Calibri"/>
            </a:endParaRPr>
          </a:p>
          <a:p>
            <a:r>
              <a:rPr lang="en-US" b="1">
                <a:highlight>
                  <a:srgbClr val="FFFFFF"/>
                </a:highlight>
              </a:rPr>
              <a:t>So</a:t>
            </a:r>
            <a:r>
              <a:rPr lang="en-US">
                <a:highlight>
                  <a:srgbClr val="FFFFFF"/>
                </a:highlight>
              </a:rPr>
              <a:t>,</a:t>
            </a:r>
            <a:r>
              <a:rPr lang="en-US" b="1">
                <a:highlight>
                  <a:srgbClr val="FFFFFF"/>
                </a:highlight>
              </a:rPr>
              <a:t> what went wrong?</a:t>
            </a:r>
            <a:endParaRPr lang="en-US">
              <a:highlight>
                <a:srgbClr val="FFFFFF"/>
              </a:highlight>
            </a:endParaRPr>
          </a:p>
          <a:p>
            <a:r>
              <a:rPr lang="en-US">
                <a:highlight>
                  <a:srgbClr val="FFFFFF"/>
                </a:highlight>
              </a:rPr>
              <a:t>This case is unique in the data. Out of all entities in the federal audit and exclusion datasets, this is the only one that meets all of these conditions, which makes it a clear, verified failure. However, the Prince Hall Charitable Trust was one of the 28% of entities traceable in the data. There could be more cases hidden in unrecorded transactions.</a:t>
            </a:r>
            <a:endParaRPr lang="en-US">
              <a:highlight>
                <a:srgbClr val="FFFFFF"/>
              </a:highlight>
              <a:ea typeface="Calibri"/>
              <a:cs typeface="Calibri"/>
            </a:endParaRPr>
          </a:p>
          <a:p>
            <a:r>
              <a:rPr lang="en-US">
                <a:highlight>
                  <a:srgbClr val="FFFFFF"/>
                </a:highlight>
              </a:rPr>
              <a:t>The Data is there, but the connections aren’t. Without traceability the system leaves room for inter-agency oversight, undermining federal payment integrity and public trust.</a:t>
            </a:r>
            <a:endParaRPr lang="en-US">
              <a:highlight>
                <a:srgbClr val="FFFFFF"/>
              </a:highlight>
              <a:ea typeface="Calibri"/>
              <a:cs typeface="Calibri"/>
            </a:endParaRPr>
          </a:p>
          <a:p>
            <a:endParaRPr lang="en-US">
              <a:highlight>
                <a:srgbClr val="FFFFFF"/>
              </a:highlight>
            </a:endParaRPr>
          </a:p>
          <a:p>
            <a:endParaRPr lang="en-US">
              <a:ea typeface="Calibri"/>
              <a:cs typeface="Calibri"/>
            </a:endParaRPr>
          </a:p>
        </p:txBody>
      </p:sp>
      <p:sp>
        <p:nvSpPr>
          <p:cNvPr id="4" name="Slide Number Placeholder 3">
            <a:extLst>
              <a:ext uri="{FF2B5EF4-FFF2-40B4-BE49-F238E27FC236}">
                <a16:creationId xmlns:a16="http://schemas.microsoft.com/office/drawing/2014/main" id="{138C2D0D-2EBD-B9AA-E14A-7FC690F61E71}"/>
              </a:ext>
            </a:extLst>
          </p:cNvPr>
          <p:cNvSpPr>
            <a:spLocks noGrp="1"/>
          </p:cNvSpPr>
          <p:nvPr>
            <p:ph type="sldNum" sz="quarter" idx="5"/>
          </p:nvPr>
        </p:nvSpPr>
        <p:spPr/>
        <p:txBody>
          <a:bodyPr/>
          <a:lstStyle/>
          <a:p>
            <a:fld id="{CF1CD82C-8186-9E41-8B8B-F66E4066A413}" type="slidenum">
              <a:rPr lang="en-DK" smtClean="0"/>
              <a:pPr/>
              <a:t>14</a:t>
            </a:fld>
            <a:endParaRPr lang="en-DK"/>
          </a:p>
        </p:txBody>
      </p:sp>
    </p:spTree>
    <p:extLst>
      <p:ext uri="{BB962C8B-B14F-4D97-AF65-F5344CB8AC3E}">
        <p14:creationId xmlns:p14="http://schemas.microsoft.com/office/powerpoint/2010/main" val="2003964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63DEF-D6EA-C39D-8D03-8887DF3931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1CA640-6A20-8B48-AB00-CC403BCB13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423C58-8F1F-6E70-6535-BC2CF2AFB474}"/>
              </a:ext>
            </a:extLst>
          </p:cNvPr>
          <p:cNvSpPr>
            <a:spLocks noGrp="1"/>
          </p:cNvSpPr>
          <p:nvPr>
            <p:ph type="body" idx="1"/>
          </p:nvPr>
        </p:nvSpPr>
        <p:spPr/>
        <p:txBody>
          <a:bodyPr/>
          <a:lstStyle/>
          <a:p>
            <a:r>
              <a:rPr lang="en-US">
                <a:highlight>
                  <a:srgbClr val="FFFFFF"/>
                </a:highlight>
                <a:ea typeface="Calibri"/>
                <a:cs typeface="Calibri"/>
              </a:rPr>
              <a:t>Nikita</a:t>
            </a:r>
            <a:endParaRPr lang="en-US">
              <a:highlight>
                <a:srgbClr val="FFFFFF"/>
              </a:highlight>
            </a:endParaRPr>
          </a:p>
          <a:p>
            <a:r>
              <a:rPr lang="en-US">
                <a:highlight>
                  <a:srgbClr val="FFFFFF"/>
                </a:highlight>
              </a:rPr>
              <a:t>This second case expands the problem beyond a single agency and shows why this is a </a:t>
            </a:r>
            <a:r>
              <a:rPr lang="en-US" b="1">
                <a:highlight>
                  <a:srgbClr val="FFFFFF"/>
                </a:highlight>
              </a:rPr>
              <a:t>government-wide issue</a:t>
            </a:r>
            <a:r>
              <a:rPr lang="en-US">
                <a:highlight>
                  <a:srgbClr val="FFFFFF"/>
                </a:highlight>
              </a:rPr>
              <a:t>.</a:t>
            </a:r>
            <a:endParaRPr lang="en-US">
              <a:highlight>
                <a:srgbClr val="FFFFFF"/>
              </a:highlight>
              <a:ea typeface="Calibri"/>
              <a:cs typeface="Calibri"/>
            </a:endParaRPr>
          </a:p>
          <a:p>
            <a:r>
              <a:rPr lang="en-US" err="1">
                <a:highlight>
                  <a:srgbClr val="FFFFFF"/>
                </a:highlight>
              </a:rPr>
              <a:t>Amerihost</a:t>
            </a:r>
            <a:r>
              <a:rPr lang="en-US">
                <a:highlight>
                  <a:srgbClr val="FFFFFF"/>
                </a:highlight>
              </a:rPr>
              <a:t> Services is a landlord that participates in federally assisted housing programs. On </a:t>
            </a:r>
            <a:r>
              <a:rPr lang="en-US" b="1">
                <a:highlight>
                  <a:srgbClr val="FFFFFF"/>
                </a:highlight>
              </a:rPr>
              <a:t>September 8, 2021</a:t>
            </a:r>
            <a:r>
              <a:rPr lang="en-US">
                <a:highlight>
                  <a:srgbClr val="FFFFFF"/>
                </a:highlight>
              </a:rPr>
              <a:t>, </a:t>
            </a:r>
            <a:r>
              <a:rPr lang="en-US" err="1">
                <a:highlight>
                  <a:srgbClr val="FFFFFF"/>
                </a:highlight>
              </a:rPr>
              <a:t>Amerihost</a:t>
            </a:r>
            <a:r>
              <a:rPr lang="en-US">
                <a:highlight>
                  <a:srgbClr val="FFFFFF"/>
                </a:highlight>
              </a:rPr>
              <a:t> was </a:t>
            </a:r>
            <a:r>
              <a:rPr lang="en-US" b="1">
                <a:highlight>
                  <a:srgbClr val="FFFFFF"/>
                </a:highlight>
              </a:rPr>
              <a:t>formally excluded by the Environmental Protection Agency</a:t>
            </a:r>
            <a:r>
              <a:rPr lang="en-US">
                <a:highlight>
                  <a:srgbClr val="FFFFFF"/>
                </a:highlight>
              </a:rPr>
              <a:t>, or EPA.</a:t>
            </a:r>
          </a:p>
          <a:p>
            <a:r>
              <a:rPr lang="en-US">
                <a:highlight>
                  <a:srgbClr val="FFFFFF"/>
                </a:highlight>
              </a:rPr>
              <a:t>Under federal law, exclusions are </a:t>
            </a:r>
            <a:r>
              <a:rPr lang="en-US" b="1">
                <a:highlight>
                  <a:srgbClr val="FFFFFF"/>
                </a:highlight>
              </a:rPr>
              <a:t>not agency-specific</a:t>
            </a:r>
            <a:r>
              <a:rPr lang="en-US">
                <a:highlight>
                  <a:srgbClr val="FFFFFF"/>
                </a:highlight>
              </a:rPr>
              <a:t>. The governing regulation, </a:t>
            </a:r>
            <a:r>
              <a:rPr lang="en-US" b="1">
                <a:highlight>
                  <a:srgbClr val="FFFFFF"/>
                </a:highlight>
              </a:rPr>
              <a:t>2 CFR Part 180</a:t>
            </a:r>
            <a:r>
              <a:rPr lang="en-US">
                <a:highlight>
                  <a:srgbClr val="FFFFFF"/>
                </a:highlight>
              </a:rPr>
              <a:t>, establishes what is called </a:t>
            </a:r>
            <a:r>
              <a:rPr lang="en-US" b="1">
                <a:highlight>
                  <a:srgbClr val="FFFFFF"/>
                </a:highlight>
              </a:rPr>
              <a:t>government-wide reciprocity</a:t>
            </a:r>
            <a:r>
              <a:rPr lang="en-US">
                <a:highlight>
                  <a:srgbClr val="FFFFFF"/>
                </a:highlight>
              </a:rPr>
              <a:t>. This means that when one federal agency excludes an entity, </a:t>
            </a:r>
            <a:r>
              <a:rPr lang="en-US" b="1">
                <a:highlight>
                  <a:srgbClr val="FFFFFF"/>
                </a:highlight>
              </a:rPr>
              <a:t>all federal agencies are legally required to honor that exclusion</a:t>
            </a:r>
            <a:r>
              <a:rPr lang="en-US">
                <a:highlight>
                  <a:srgbClr val="FFFFFF"/>
                </a:highlight>
              </a:rPr>
              <a:t>.</a:t>
            </a:r>
          </a:p>
          <a:p>
            <a:r>
              <a:rPr lang="en-US">
                <a:highlight>
                  <a:srgbClr val="FFFFFF"/>
                </a:highlight>
              </a:rPr>
              <a:t>In other words, once the EPA excluded </a:t>
            </a:r>
            <a:r>
              <a:rPr lang="en-US" err="1">
                <a:highlight>
                  <a:srgbClr val="FFFFFF"/>
                </a:highlight>
              </a:rPr>
              <a:t>Amerihost</a:t>
            </a:r>
            <a:r>
              <a:rPr lang="en-US">
                <a:highlight>
                  <a:srgbClr val="FFFFFF"/>
                </a:highlight>
              </a:rPr>
              <a:t>, </a:t>
            </a:r>
            <a:r>
              <a:rPr lang="en-US" b="1">
                <a:highlight>
                  <a:srgbClr val="FFFFFF"/>
                </a:highlight>
              </a:rPr>
              <a:t>HUD was prohibited from making any new awards, renewals, or extensions</a:t>
            </a:r>
            <a:r>
              <a:rPr lang="en-US">
                <a:highlight>
                  <a:srgbClr val="FFFFFF"/>
                </a:highlight>
              </a:rPr>
              <a:t> involving that entity unless a formal exception was documented.</a:t>
            </a:r>
          </a:p>
          <a:p>
            <a:r>
              <a:rPr lang="en-US">
                <a:highlight>
                  <a:srgbClr val="FFFFFF"/>
                </a:highlight>
              </a:rPr>
              <a:t>Despite this, HUD-funded housing assistance payments continued. Specifically:</a:t>
            </a:r>
          </a:p>
          <a:p>
            <a:pPr marL="171450" indent="-171450">
              <a:buFont typeface="Symbol"/>
              <a:buChar char="•"/>
            </a:pPr>
            <a:r>
              <a:rPr lang="en-US">
                <a:highlight>
                  <a:srgbClr val="FFFFFF"/>
                </a:highlight>
              </a:rPr>
              <a:t>Five separate awards were made each year</a:t>
            </a:r>
          </a:p>
          <a:p>
            <a:pPr marL="171450" indent="-171450">
              <a:buFont typeface="Symbol"/>
              <a:buChar char="•"/>
            </a:pPr>
            <a:r>
              <a:rPr lang="en-US">
                <a:highlight>
                  <a:srgbClr val="FFFFFF"/>
                </a:highlight>
              </a:rPr>
              <a:t>Across fiscal years 2022, 2023, and 2024</a:t>
            </a:r>
          </a:p>
          <a:p>
            <a:pPr marL="171450" indent="-171450">
              <a:buFont typeface="Symbol"/>
              <a:buChar char="•"/>
            </a:pPr>
            <a:r>
              <a:rPr lang="en-US">
                <a:highlight>
                  <a:srgbClr val="FFFFFF"/>
                </a:highlight>
              </a:rPr>
              <a:t>Totaling approximately </a:t>
            </a:r>
            <a:r>
              <a:rPr lang="en-US" b="1">
                <a:highlight>
                  <a:srgbClr val="FFFFFF"/>
                </a:highlight>
              </a:rPr>
              <a:t>$760,000 across fifteen payments</a:t>
            </a:r>
            <a:endParaRPr lang="en-US">
              <a:highlight>
                <a:srgbClr val="FFFFFF"/>
              </a:highlight>
            </a:endParaRPr>
          </a:p>
          <a:p>
            <a:r>
              <a:rPr lang="en-US">
                <a:highlight>
                  <a:srgbClr val="FFFFFF"/>
                </a:highlight>
              </a:rPr>
              <a:t>These payments are not one-time errors. Each year’s payments represent a </a:t>
            </a:r>
            <a:r>
              <a:rPr lang="en-US" b="1">
                <a:highlight>
                  <a:srgbClr val="FFFFFF"/>
                </a:highlight>
              </a:rPr>
              <a:t>renewal or continuation of assistance</a:t>
            </a:r>
            <a:r>
              <a:rPr lang="en-US">
                <a:highlight>
                  <a:srgbClr val="FFFFFF"/>
                </a:highlight>
              </a:rPr>
              <a:t>, which federal regulations explicitly prohibit when an entity is excluded.</a:t>
            </a:r>
          </a:p>
          <a:p>
            <a:r>
              <a:rPr lang="en-US">
                <a:highlight>
                  <a:srgbClr val="FFFFFF"/>
                </a:highlight>
              </a:rPr>
              <a:t>Again, the exclusion data was visible, but enforcement fell short because it depended on manual checks rather than an automated system.</a:t>
            </a:r>
          </a:p>
          <a:p>
            <a:endParaRPr lang="en-US">
              <a:highlight>
                <a:srgbClr val="FFFFFF"/>
              </a:highlight>
            </a:endParaRPr>
          </a:p>
          <a:p>
            <a:endParaRPr lang="en-US">
              <a:ea typeface="Calibri"/>
              <a:cs typeface="Calibri"/>
            </a:endParaRPr>
          </a:p>
        </p:txBody>
      </p:sp>
      <p:sp>
        <p:nvSpPr>
          <p:cNvPr id="4" name="Slide Number Placeholder 3">
            <a:extLst>
              <a:ext uri="{FF2B5EF4-FFF2-40B4-BE49-F238E27FC236}">
                <a16:creationId xmlns:a16="http://schemas.microsoft.com/office/drawing/2014/main" id="{AC6C813B-C134-72B9-D940-70C56666026B}"/>
              </a:ext>
            </a:extLst>
          </p:cNvPr>
          <p:cNvSpPr>
            <a:spLocks noGrp="1"/>
          </p:cNvSpPr>
          <p:nvPr>
            <p:ph type="sldNum" sz="quarter" idx="5"/>
          </p:nvPr>
        </p:nvSpPr>
        <p:spPr/>
        <p:txBody>
          <a:bodyPr/>
          <a:lstStyle/>
          <a:p>
            <a:fld id="{CF1CD82C-8186-9E41-8B8B-F66E4066A413}" type="slidenum">
              <a:rPr lang="en-DK" smtClean="0"/>
              <a:pPr/>
              <a:t>15</a:t>
            </a:fld>
            <a:endParaRPr lang="en-DK"/>
          </a:p>
        </p:txBody>
      </p:sp>
    </p:spTree>
    <p:extLst>
      <p:ext uri="{BB962C8B-B14F-4D97-AF65-F5344CB8AC3E}">
        <p14:creationId xmlns:p14="http://schemas.microsoft.com/office/powerpoint/2010/main" val="2175315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So far, we've done a deep dive on the facts in the present. But what about looking into the future? </a:t>
            </a:r>
          </a:p>
          <a:p>
            <a:endParaRPr lang="en-US">
              <a:ea typeface="Calibri"/>
              <a:cs typeface="Calibri"/>
            </a:endParaRPr>
          </a:p>
          <a:p>
            <a:r>
              <a:rPr lang="en-US">
                <a:ea typeface="Calibri"/>
                <a:cs typeface="Calibri"/>
              </a:rPr>
              <a:t>With this model, we've created </a:t>
            </a:r>
            <a:r>
              <a:rPr lang="en-US"/>
              <a:t>an early warning signal for which organizations are more likely to have audit findings </a:t>
            </a:r>
            <a:r>
              <a:rPr lang="en-US" i="1"/>
              <a:t>next year</a:t>
            </a:r>
            <a:r>
              <a:rPr lang="en-US"/>
              <a:t>, based on what we already know about them today. </a:t>
            </a:r>
            <a:endParaRPr lang="en-US">
              <a:ea typeface="Calibri"/>
              <a:cs typeface="Calibri"/>
            </a:endParaRPr>
          </a:p>
          <a:p>
            <a:endParaRPr lang="en-US">
              <a:ea typeface="Calibri"/>
              <a:cs typeface="Calibri"/>
            </a:endParaRPr>
          </a:p>
          <a:p>
            <a:r>
              <a:rPr lang="en-US"/>
              <a:t>The main use case here is helping prioritize where to focus attention, outreach, or support to entities. It’s important to say upfront: this model does not decide that someone ‘will’ have findings. It’s a risk indicator for oversight, not a judgment.</a:t>
            </a:r>
            <a:endParaRPr lang="en-US">
              <a:ea typeface="Calibri"/>
              <a:cs typeface="Calibri"/>
            </a:endParaRPr>
          </a:p>
          <a:p>
            <a:endParaRPr lang="en-US">
              <a:ea typeface="Calibri"/>
              <a:cs typeface="Calibri"/>
            </a:endParaRPr>
          </a:p>
          <a:p>
            <a:r>
              <a:rPr lang="en-US" b="1"/>
              <a:t>In terms of how it works,</a:t>
            </a:r>
            <a:r>
              <a:rPr lang="en-US"/>
              <a:t> the model looks at each recipient in a given year. So think of it as an ‘entity-year’ snapshot --and then predicts whether that recipient will have findings in the following year. It uses information we already have, like whether there were findings previously, how many findings there were, and patterns in funding like how many award lines they have, how broad their funding is across programs and agencies, and overall funding scale.</a:t>
            </a:r>
            <a:endParaRPr lang="en-US">
              <a:ea typeface="Calibri"/>
              <a:cs typeface="Calibri"/>
            </a:endParaRPr>
          </a:p>
          <a:p>
            <a:endParaRPr lang="en-US">
              <a:ea typeface="Calibri"/>
              <a:cs typeface="Calibri"/>
            </a:endParaRPr>
          </a:p>
          <a:p>
            <a:r>
              <a:rPr lang="en-US"/>
              <a:t>The algorithm we chose is called a </a:t>
            </a:r>
            <a:r>
              <a:rPr lang="en-US" err="1"/>
              <a:t>HistGradientBoosting</a:t>
            </a:r>
            <a:r>
              <a:rPr lang="en-US"/>
              <a:t> model, or HGB.</a:t>
            </a:r>
            <a:endParaRPr lang="en-US">
              <a:ea typeface="Calibri"/>
              <a:cs typeface="Calibri"/>
            </a:endParaRPr>
          </a:p>
          <a:p>
            <a:r>
              <a:rPr lang="en-US"/>
              <a:t>The machine learning math behind it may be complex, but what matters is that it’s very good at spotting patterns and combinations of factors that relate to future risk, without us having to manually write a bunch of rules.</a:t>
            </a:r>
            <a:endParaRPr lang="en-US">
              <a:ea typeface="Calibri"/>
              <a:cs typeface="Calibri"/>
            </a:endParaRPr>
          </a:p>
          <a:p>
            <a:endParaRPr lang="en-US">
              <a:ea typeface="Calibri"/>
              <a:cs typeface="Calibri"/>
            </a:endParaRPr>
          </a:p>
          <a:p>
            <a:r>
              <a:rPr lang="en-US" b="1"/>
              <a:t>To evaluate performance of an ML model, we use two standard measures.</a:t>
            </a:r>
            <a:endParaRPr lang="en-US" b="1">
              <a:ea typeface="Calibri"/>
              <a:cs typeface="Calibri"/>
            </a:endParaRPr>
          </a:p>
          <a:p>
            <a:r>
              <a:rPr lang="en-US"/>
              <a:t>The first is ROC-AUC, where higher is better, and our score is 0.7656. Essentially, this tells us that if you randomly pick one entity-year that will have findings next year and one that won’t, the model will assign a higher risk score to the “will have findings” case about 77% of the time. The second is PR-AUC, which is especially helpful when the outcome is relatively uncommon (like audit findings ) and our PR-AUC is 0.5439. In plain language: the model does a solid job distinguishing higher-risk recipients from lower-risk recipients, even when findings are not happening for everyone.</a:t>
            </a:r>
            <a:endParaRPr lang="en-US">
              <a:ea typeface="Calibri"/>
              <a:cs typeface="Calibri"/>
            </a:endParaRPr>
          </a:p>
          <a:p>
            <a:endParaRPr lang="en-US">
              <a:ea typeface="Calibri"/>
              <a:cs typeface="Calibri"/>
            </a:endParaRPr>
          </a:p>
          <a:p>
            <a:r>
              <a:rPr lang="en-US" b="1"/>
              <a:t>We also want the model to be explainable, not a black box.</a:t>
            </a:r>
            <a:endParaRPr lang="en-US"/>
          </a:p>
          <a:p>
            <a:r>
              <a:rPr lang="en-US"/>
              <a:t>So we looked at the strongest signals it uses, shown in the bar plot explaining the importance of each feature in the model. The biggest ones are: whether an entity has had findings before, the number of findings, the volume of award activity (like the number of award lines) and how complex their funding looks, such as being spread across many programs or agencies. These aren’t ‘good’ or ‘bad’ traits ; just patterns that historically tend to correlate with higher likelihood of future findings.</a:t>
            </a:r>
            <a:endParaRPr lang="en-US">
              <a:ea typeface="Calibri"/>
              <a:cs typeface="Calibri"/>
            </a:endParaRPr>
          </a:p>
          <a:p>
            <a:endParaRPr lang="en-US">
              <a:ea typeface="Calibri"/>
              <a:cs typeface="Calibri"/>
            </a:endParaRPr>
          </a:p>
          <a:p>
            <a:r>
              <a:rPr lang="en-US" b="1"/>
              <a:t>Finally, here’s how we recommend using the output.</a:t>
            </a:r>
            <a:endParaRPr lang="en-US"/>
          </a:p>
          <a:p>
            <a:r>
              <a:rPr lang="en-US"/>
              <a:t>Instead of treating this as just a score, we can use it to create </a:t>
            </a:r>
            <a:r>
              <a:rPr lang="en-US" b="1"/>
              <a:t>practical oversight triggers</a:t>
            </a:r>
            <a:r>
              <a:rPr lang="en-US"/>
              <a:t>. For example, if the model predicts elevated risk, we can establish </a:t>
            </a:r>
            <a:r>
              <a:rPr lang="en-US" b="1"/>
              <a:t>funding review triggers</a:t>
            </a:r>
            <a:r>
              <a:rPr lang="en-US"/>
              <a:t>—meaning certain awards may get an added check, added documentation, or an extra level of review before moving forward.</a:t>
            </a:r>
          </a:p>
          <a:p>
            <a:endParaRPr lang="en-US">
              <a:cs typeface="+mn-lt"/>
            </a:endParaRPr>
          </a:p>
          <a:p>
            <a:r>
              <a:rPr lang="en-US"/>
              <a:t>Second, for entities with </a:t>
            </a:r>
            <a:r>
              <a:rPr lang="en-US" b="1"/>
              <a:t>repeat findings</a:t>
            </a:r>
            <a:r>
              <a:rPr lang="en-US"/>
              <a:t>, we recommend making a </a:t>
            </a:r>
            <a:r>
              <a:rPr lang="en-US" b="1"/>
              <a:t>risk model check a standard step</a:t>
            </a:r>
            <a:r>
              <a:rPr lang="en-US"/>
              <a:t> in the workflow before reviewing or approving new awards. This doesn’t mean automatically stopping funding—it simply ensures we’re being intentional and consistent about how we review higher-risk cases.</a:t>
            </a:r>
          </a:p>
          <a:p>
            <a:endParaRPr lang="en-US">
              <a:cs typeface="+mn-lt"/>
            </a:endParaRPr>
          </a:p>
          <a:p>
            <a:r>
              <a:rPr lang="en-US"/>
              <a:t>Overall, the value here is that the model supports </a:t>
            </a:r>
            <a:r>
              <a:rPr lang="en-US" b="1"/>
              <a:t>smarter oversight</a:t>
            </a:r>
            <a:r>
              <a:rPr lang="en-US"/>
              <a:t>. It helps teams focus limited time and attention where it’s most needed, reducing administrative inefficiencies, while keeping the final decision with policy, auditors, and program staff.</a:t>
            </a:r>
            <a:endParaRPr lang="en-US">
              <a:ea typeface="Calibri"/>
              <a:cs typeface="Calibri"/>
            </a:endParaRPr>
          </a:p>
          <a:p>
            <a:endParaRPr lang="en-US">
              <a:highlight>
                <a:srgbClr val="FFFF00"/>
              </a:highlight>
              <a:ea typeface="Calibri"/>
              <a:cs typeface="Calibri"/>
            </a:endParaRPr>
          </a:p>
          <a:p>
            <a:r>
              <a:rPr lang="en-US"/>
              <a:t>Its important to note that this model is not causal , so we can’t say the model found the </a:t>
            </a:r>
            <a:r>
              <a:rPr lang="en-US" i="1"/>
              <a:t>‘reason’ </a:t>
            </a:r>
            <a:r>
              <a:rPr lang="en-US"/>
              <a:t>for findings - only patterns that predict risk. It also depends on data quality and reporting consistency. That’s why we’d monitor performance over time, watch for changes in the data, and retrain or recalibrate as needed</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16</a:t>
            </a:fld>
            <a:endParaRPr lang="en-US"/>
          </a:p>
        </p:txBody>
      </p:sp>
    </p:spTree>
    <p:extLst>
      <p:ext uri="{BB962C8B-B14F-4D97-AF65-F5344CB8AC3E}">
        <p14:creationId xmlns:p14="http://schemas.microsoft.com/office/powerpoint/2010/main" val="1048337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02D55D-2CBF-CDA3-8BB8-B75CC4B148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23D7F7-2D19-135F-4382-9279605F2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EF0CFD-D2F1-8D01-A248-20CEE13A850D}"/>
              </a:ext>
            </a:extLst>
          </p:cNvPr>
          <p:cNvSpPr>
            <a:spLocks noGrp="1"/>
          </p:cNvSpPr>
          <p:nvPr>
            <p:ph type="body" idx="1"/>
          </p:nvPr>
        </p:nvSpPr>
        <p:spPr/>
        <p:txBody>
          <a:bodyPr/>
          <a:lstStyle/>
          <a:p>
            <a:r>
              <a:rPr lang="en-US">
                <a:ea typeface="Calibri"/>
                <a:cs typeface="Calibri"/>
              </a:rPr>
              <a:t>Pranavi </a:t>
            </a:r>
          </a:p>
          <a:p>
            <a:endParaRPr lang="en-US">
              <a:ea typeface="Calibri"/>
              <a:cs typeface="Calibri"/>
            </a:endParaRPr>
          </a:p>
          <a:p>
            <a:r>
              <a:rPr lang="en-US">
                <a:ea typeface="Calibri"/>
                <a:cs typeface="Calibri"/>
              </a:rPr>
              <a:t>4 Main Recommendations: </a:t>
            </a:r>
          </a:p>
          <a:p>
            <a:r>
              <a:rPr lang="en-US">
                <a:ea typeface="Calibri"/>
                <a:cs typeface="Calibri"/>
              </a:rPr>
              <a:t>Pilot the Taxpayer Protection Score</a:t>
            </a:r>
          </a:p>
          <a:p>
            <a:pPr marL="171450" indent="-171450">
              <a:buFont typeface="Calibri"/>
              <a:buChar char="-"/>
            </a:pPr>
            <a:r>
              <a:rPr lang="en-US">
                <a:ea typeface="Calibri"/>
                <a:cs typeface="Calibri"/>
              </a:rPr>
              <a:t>Test Taxpayer Protection score with select awarding agencies</a:t>
            </a:r>
          </a:p>
          <a:p>
            <a:pPr marL="171450" indent="-171450">
              <a:buFont typeface="Calibri"/>
              <a:buChar char="-"/>
            </a:pPr>
            <a:r>
              <a:rPr lang="en-US">
                <a:ea typeface="Calibri"/>
                <a:cs typeface="Calibri"/>
              </a:rPr>
              <a:t>Provides public-facing risk visibility before award decisions </a:t>
            </a:r>
          </a:p>
          <a:p>
            <a:endParaRPr lang="en-US">
              <a:ea typeface="Calibri"/>
              <a:cs typeface="Calibri"/>
            </a:endParaRPr>
          </a:p>
          <a:p>
            <a:r>
              <a:rPr lang="en-US">
                <a:ea typeface="Calibri"/>
                <a:cs typeface="Calibri"/>
              </a:rPr>
              <a:t>Enable Cross-System Verification</a:t>
            </a:r>
            <a:endParaRPr lang="en-US"/>
          </a:p>
          <a:p>
            <a:pPr marL="171450" indent="-171450">
              <a:buFont typeface="Calibri"/>
              <a:buChar char="-"/>
            </a:pPr>
            <a:r>
              <a:rPr lang="en-US">
                <a:ea typeface="Calibri"/>
                <a:cs typeface="Calibri"/>
              </a:rPr>
              <a:t>Automate pre-payment exclusion screening</a:t>
            </a:r>
          </a:p>
          <a:p>
            <a:pPr marL="171450" indent="-171450">
              <a:buFont typeface="Calibri"/>
              <a:buChar char="-"/>
            </a:pPr>
            <a:r>
              <a:rPr lang="en-US">
                <a:ea typeface="Calibri"/>
                <a:cs typeface="Calibri"/>
              </a:rPr>
              <a:t>Eliminating reliance on error-prone manual checks</a:t>
            </a:r>
          </a:p>
          <a:p>
            <a:pPr marL="171450" indent="-171450">
              <a:buFont typeface="Calibri"/>
              <a:buChar char="-"/>
            </a:pPr>
            <a:endParaRPr lang="en-US">
              <a:ea typeface="Calibri"/>
              <a:cs typeface="Calibri"/>
            </a:endParaRPr>
          </a:p>
          <a:p>
            <a:r>
              <a:rPr lang="en-US">
                <a:ea typeface="Calibri"/>
                <a:cs typeface="Calibri"/>
              </a:rPr>
              <a:t>Providing Clarity to Taxpayers </a:t>
            </a:r>
          </a:p>
          <a:p>
            <a:pPr marL="171450" indent="-171450">
              <a:buFont typeface="Calibri"/>
              <a:buChar char="-"/>
            </a:pPr>
            <a:r>
              <a:rPr lang="en-US">
                <a:ea typeface="Calibri"/>
                <a:cs typeface="Calibri"/>
              </a:rPr>
              <a:t>Explore risk or trust scoring with the TPS within USAspending.gov</a:t>
            </a:r>
          </a:p>
          <a:p>
            <a:pPr marL="171450" indent="-171450">
              <a:buFont typeface="Calibri"/>
              <a:buChar char="-"/>
            </a:pPr>
            <a:r>
              <a:rPr lang="en-US">
                <a:ea typeface="Calibri"/>
                <a:cs typeface="Calibri"/>
              </a:rPr>
              <a:t>Addressing the use case of increasing engagement with government focused data-sets and financial literacy</a:t>
            </a:r>
          </a:p>
          <a:p>
            <a:endParaRPr lang="en-US">
              <a:ea typeface="Calibri"/>
              <a:cs typeface="Calibri"/>
            </a:endParaRPr>
          </a:p>
          <a:p>
            <a:r>
              <a:rPr lang="en-US">
                <a:ea typeface="Calibri"/>
                <a:cs typeface="Calibri"/>
              </a:rPr>
              <a:t>Addressing the Funding Paradox (slide 12) </a:t>
            </a:r>
          </a:p>
          <a:p>
            <a:pPr marL="171450" indent="-171450">
              <a:buFont typeface="Calibri"/>
              <a:buChar char="-"/>
            </a:pPr>
            <a:r>
              <a:rPr lang="en-US">
                <a:ea typeface="Calibri"/>
                <a:cs typeface="Calibri"/>
              </a:rPr>
              <a:t>Callback to slide 12 where higher risk entities receive more money</a:t>
            </a:r>
          </a:p>
          <a:p>
            <a:pPr marL="171450" indent="-171450">
              <a:buFont typeface="Calibri"/>
              <a:buChar char="-"/>
            </a:pPr>
            <a:r>
              <a:rPr lang="en-US">
                <a:ea typeface="Calibri"/>
                <a:cs typeface="Calibri"/>
              </a:rPr>
              <a:t>Require risk review before renewing awards to entities with repeat findings</a:t>
            </a:r>
          </a:p>
          <a:p>
            <a:pPr marL="171450" indent="-171450">
              <a:buFont typeface="Calibri"/>
              <a:buChar char="-"/>
            </a:pPr>
            <a:r>
              <a:rPr lang="en-US">
                <a:ea typeface="Calibri"/>
                <a:cs typeface="Calibri"/>
              </a:rPr>
              <a:t>Establish funding triggers when audit findings exceed threshold</a:t>
            </a:r>
          </a:p>
          <a:p>
            <a:pPr marL="171450" indent="-171450">
              <a:buFont typeface="Calibri"/>
              <a:buChar char="-"/>
            </a:pPr>
            <a:endParaRPr lang="en-US"/>
          </a:p>
          <a:p>
            <a:r>
              <a:rPr lang="en-US"/>
              <a:t>And of course for all of these recommendations to work, the Office of Management and Budget would be crucial here, need to release guidance that sets the requirement and agencies can implement said guidance</a:t>
            </a:r>
            <a:endParaRPr lang="en-US">
              <a:ea typeface="Calibri"/>
              <a:cs typeface="Calibri"/>
            </a:endParaRPr>
          </a:p>
          <a:p>
            <a:pPr>
              <a:buFont typeface="Calibri"/>
            </a:pPr>
            <a:endParaRPr lang="en-US">
              <a:ea typeface="Calibri"/>
              <a:cs typeface="Calibri"/>
            </a:endParaRPr>
          </a:p>
          <a:p>
            <a:endParaRPr lang="en-US">
              <a:ea typeface="Calibri"/>
              <a:cs typeface="Calibri"/>
            </a:endParaRPr>
          </a:p>
          <a:p>
            <a:r>
              <a:rPr lang="en-US">
                <a:ea typeface="Calibri"/>
                <a:cs typeface="Calibri"/>
              </a:rPr>
              <a:t>-What lead agency would be taking on each recommendation</a:t>
            </a:r>
          </a:p>
        </p:txBody>
      </p:sp>
      <p:sp>
        <p:nvSpPr>
          <p:cNvPr id="4" name="Slide Number Placeholder 3">
            <a:extLst>
              <a:ext uri="{FF2B5EF4-FFF2-40B4-BE49-F238E27FC236}">
                <a16:creationId xmlns:a16="http://schemas.microsoft.com/office/drawing/2014/main" id="{5F360953-A711-7AE6-113D-15B836D5F316}"/>
              </a:ext>
            </a:extLst>
          </p:cNvPr>
          <p:cNvSpPr>
            <a:spLocks noGrp="1"/>
          </p:cNvSpPr>
          <p:nvPr>
            <p:ph type="sldNum" sz="quarter" idx="5"/>
          </p:nvPr>
        </p:nvSpPr>
        <p:spPr/>
        <p:txBody>
          <a:bodyPr/>
          <a:lstStyle/>
          <a:p>
            <a:fld id="{CF1CD82C-8186-9E41-8B8B-F66E4066A413}" type="slidenum">
              <a:rPr lang="en-DK" smtClean="0"/>
              <a:pPr/>
              <a:t>17</a:t>
            </a:fld>
            <a:endParaRPr lang="en-DK"/>
          </a:p>
        </p:txBody>
      </p:sp>
    </p:spTree>
    <p:extLst>
      <p:ext uri="{BB962C8B-B14F-4D97-AF65-F5344CB8AC3E}">
        <p14:creationId xmlns:p14="http://schemas.microsoft.com/office/powerpoint/2010/main" val="34258432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B158E-AD4B-DE0D-1637-42FA587015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3CE27-2AA7-DF4D-1BE1-BB1BC55117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C5816A-366E-6CF8-81EC-B547063D0618}"/>
              </a:ext>
            </a:extLst>
          </p:cNvPr>
          <p:cNvSpPr>
            <a:spLocks noGrp="1"/>
          </p:cNvSpPr>
          <p:nvPr>
            <p:ph type="body" idx="1"/>
          </p:nvPr>
        </p:nvSpPr>
        <p:spPr/>
        <p:txBody>
          <a:bodyPr/>
          <a:lstStyle/>
          <a:p>
            <a:r>
              <a:rPr lang="en-US">
                <a:ea typeface="Calibri"/>
                <a:cs typeface="Calibri"/>
              </a:rPr>
              <a:t>Andy </a:t>
            </a:r>
          </a:p>
          <a:p>
            <a:endParaRPr lang="en-US">
              <a:ea typeface="Calibri"/>
              <a:cs typeface="Calibri"/>
            </a:endParaRPr>
          </a:p>
          <a:p>
            <a:r>
              <a:rPr lang="en-US"/>
              <a:t># Objective: Build an entity-year (EIN-based) panel from FAC audit and federal award data (2019–2022) </a:t>
            </a:r>
            <a:endParaRPr lang="en-US">
              <a:ea typeface="Calibri"/>
              <a:cs typeface="Calibri"/>
            </a:endParaRPr>
          </a:p>
          <a:p>
            <a:r>
              <a:rPr lang="en-US"/>
              <a:t># to predict whether a federal grant recipient will have audit findings in the next audit year (t+1), </a:t>
            </a:r>
            <a:endParaRPr lang="en-US">
              <a:ea typeface="Calibri"/>
              <a:cs typeface="Calibri"/>
            </a:endParaRPr>
          </a:p>
          <a:p>
            <a:r>
              <a:rPr lang="en-US"/>
              <a:t># and explain key drivers of risk using permutation importance and SHAP.</a:t>
            </a:r>
            <a:endParaRPr lang="en-US">
              <a:ea typeface="Calibri"/>
              <a:cs typeface="Calibri"/>
            </a:endParaRPr>
          </a:p>
          <a:p>
            <a:r>
              <a:rPr lang="en-US"/>
              <a:t> </a:t>
            </a:r>
            <a:endParaRPr lang="en-US">
              <a:ea typeface="Calibri"/>
              <a:cs typeface="Calibri"/>
            </a:endParaRPr>
          </a:p>
          <a:p>
            <a:r>
              <a:rPr lang="en-US"/>
              <a:t>#Tech Stack (Python): Tech stack (Python): pandas, NumPy, scikit-learn, SHAP</a:t>
            </a:r>
            <a:endParaRPr lang="en-US">
              <a:ea typeface="Calibri"/>
              <a:cs typeface="Calibri"/>
            </a:endParaRPr>
          </a:p>
          <a:p>
            <a:r>
              <a:rPr lang="en-US"/>
              <a:t> </a:t>
            </a:r>
            <a:endParaRPr lang="en-US">
              <a:ea typeface="Calibri"/>
              <a:cs typeface="Calibri"/>
            </a:endParaRPr>
          </a:p>
          <a:p>
            <a:r>
              <a:rPr lang="en-US"/>
              <a:t>#Data Sources: FAC general, awards, and findings data from 2019, 2020, 2021, and 2022</a:t>
            </a:r>
            <a:endParaRPr lang="en-US">
              <a:ea typeface="Calibri"/>
              <a:cs typeface="Calibri"/>
            </a:endParaRPr>
          </a:p>
          <a:p>
            <a:endParaRPr lang="en-US">
              <a:ea typeface="Calibri"/>
              <a:cs typeface="Calibri"/>
            </a:endParaRPr>
          </a:p>
          <a:p>
            <a:endParaRPr lang="en-US"/>
          </a:p>
        </p:txBody>
      </p:sp>
      <p:sp>
        <p:nvSpPr>
          <p:cNvPr id="4" name="Slide Number Placeholder 3">
            <a:extLst>
              <a:ext uri="{FF2B5EF4-FFF2-40B4-BE49-F238E27FC236}">
                <a16:creationId xmlns:a16="http://schemas.microsoft.com/office/drawing/2014/main" id="{228589F2-06AB-78DD-9F18-CB981CDD6B6C}"/>
              </a:ext>
            </a:extLst>
          </p:cNvPr>
          <p:cNvSpPr>
            <a:spLocks noGrp="1"/>
          </p:cNvSpPr>
          <p:nvPr>
            <p:ph type="sldNum" sz="quarter" idx="5"/>
          </p:nvPr>
        </p:nvSpPr>
        <p:spPr/>
        <p:txBody>
          <a:bodyPr/>
          <a:lstStyle/>
          <a:p>
            <a:fld id="{B6EDE8EB-D8FD-45B4-B835-E0178FFBD4F6}" type="slidenum">
              <a:rPr lang="en-US"/>
              <a:t>18</a:t>
            </a:fld>
            <a:endParaRPr lang="en-US"/>
          </a:p>
        </p:txBody>
      </p:sp>
    </p:spTree>
    <p:extLst>
      <p:ext uri="{BB962C8B-B14F-4D97-AF65-F5344CB8AC3E}">
        <p14:creationId xmlns:p14="http://schemas.microsoft.com/office/powerpoint/2010/main" val="796520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65223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et's meet our small but mighty team!</a:t>
            </a:r>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2</a:t>
            </a:fld>
            <a:endParaRPr lang="en-DK"/>
          </a:p>
        </p:txBody>
      </p:sp>
    </p:spTree>
    <p:extLst>
      <p:ext uri="{BB962C8B-B14F-4D97-AF65-F5344CB8AC3E}">
        <p14:creationId xmlns:p14="http://schemas.microsoft.com/office/powerpoint/2010/main" val="928709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F5BF6-12DE-F3C9-CDC5-551E73ACE2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88AB0-FA70-26A2-D332-687745B50D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06A860-0EF6-C619-6FB0-5607119DC342}"/>
              </a:ext>
            </a:extLst>
          </p:cNvPr>
          <p:cNvSpPr>
            <a:spLocks noGrp="1"/>
          </p:cNvSpPr>
          <p:nvPr>
            <p:ph type="body" idx="1"/>
          </p:nvPr>
        </p:nvSpPr>
        <p:spPr/>
        <p:txBody>
          <a:bodyPr/>
          <a:lstStyle/>
          <a:p>
            <a:r>
              <a:rPr lang="en-US">
                <a:ea typeface="Calibri"/>
                <a:cs typeface="Calibri"/>
              </a:rPr>
              <a:t>Pranavi </a:t>
            </a:r>
          </a:p>
          <a:p>
            <a:pPr marL="171450" indent="-171450">
              <a:buFont typeface="Calibri"/>
              <a:buChar char="-"/>
            </a:pPr>
            <a:endParaRPr lang="en-US"/>
          </a:p>
        </p:txBody>
      </p:sp>
      <p:sp>
        <p:nvSpPr>
          <p:cNvPr id="4" name="Slide Number Placeholder 3">
            <a:extLst>
              <a:ext uri="{FF2B5EF4-FFF2-40B4-BE49-F238E27FC236}">
                <a16:creationId xmlns:a16="http://schemas.microsoft.com/office/drawing/2014/main" id="{3FDEE827-EE8F-A30C-EA77-C9EC87687AB1}"/>
              </a:ext>
            </a:extLst>
          </p:cNvPr>
          <p:cNvSpPr>
            <a:spLocks noGrp="1"/>
          </p:cNvSpPr>
          <p:nvPr>
            <p:ph type="sldNum" sz="quarter" idx="5"/>
          </p:nvPr>
        </p:nvSpPr>
        <p:spPr/>
        <p:txBody>
          <a:bodyPr/>
          <a:lstStyle/>
          <a:p>
            <a:fld id="{CF1CD82C-8186-9E41-8B8B-F66E4066A413}" type="slidenum">
              <a:rPr lang="en-DK" smtClean="0"/>
              <a:pPr/>
              <a:t>20</a:t>
            </a:fld>
            <a:endParaRPr lang="en-DK"/>
          </a:p>
        </p:txBody>
      </p:sp>
    </p:spTree>
    <p:extLst>
      <p:ext uri="{BB962C8B-B14F-4D97-AF65-F5344CB8AC3E}">
        <p14:creationId xmlns:p14="http://schemas.microsoft.com/office/powerpoint/2010/main" val="374301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Khaled</a:t>
            </a:r>
          </a:p>
        </p:txBody>
      </p:sp>
      <p:sp>
        <p:nvSpPr>
          <p:cNvPr id="4" name="Slide Number Placeholder 3"/>
          <p:cNvSpPr>
            <a:spLocks noGrp="1"/>
          </p:cNvSpPr>
          <p:nvPr>
            <p:ph type="sldNum" sz="quarter" idx="5"/>
          </p:nvPr>
        </p:nvSpPr>
        <p:spPr/>
        <p:txBody>
          <a:bodyPr/>
          <a:lstStyle/>
          <a:p>
            <a:fld id="{B6EDE8EB-D8FD-45B4-B835-E0178FFBD4F6}" type="slidenum">
              <a:rPr lang="en-US"/>
              <a:t>3</a:t>
            </a:fld>
            <a:endParaRPr lang="en-US"/>
          </a:p>
        </p:txBody>
      </p:sp>
    </p:spTree>
    <p:extLst>
      <p:ext uri="{BB962C8B-B14F-4D97-AF65-F5344CB8AC3E}">
        <p14:creationId xmlns:p14="http://schemas.microsoft.com/office/powerpoint/2010/main" val="985761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CF3B2-C5DE-9B1E-1C97-9B20CB76D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4911F4-5541-F1CC-47B2-C2E3E61403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2F1891-4927-90F9-8B3D-47641DC19C08}"/>
              </a:ext>
            </a:extLst>
          </p:cNvPr>
          <p:cNvSpPr>
            <a:spLocks noGrp="1"/>
          </p:cNvSpPr>
          <p:nvPr>
            <p:ph type="body" idx="1"/>
          </p:nvPr>
        </p:nvSpPr>
        <p:spPr/>
        <p:txBody>
          <a:bodyPr/>
          <a:lstStyle/>
          <a:p>
            <a:r>
              <a:rPr lang="en-US">
                <a:ea typeface="Calibri"/>
                <a:cs typeface="Calibri"/>
              </a:rPr>
              <a:t>Khaled</a:t>
            </a:r>
            <a:endParaRPr lang="en-US"/>
          </a:p>
        </p:txBody>
      </p:sp>
      <p:sp>
        <p:nvSpPr>
          <p:cNvPr id="4" name="Slide Number Placeholder 3">
            <a:extLst>
              <a:ext uri="{FF2B5EF4-FFF2-40B4-BE49-F238E27FC236}">
                <a16:creationId xmlns:a16="http://schemas.microsoft.com/office/drawing/2014/main" id="{B9C0967D-36C2-806A-DE50-24EC0FC625CC}"/>
              </a:ext>
            </a:extLst>
          </p:cNvPr>
          <p:cNvSpPr>
            <a:spLocks noGrp="1"/>
          </p:cNvSpPr>
          <p:nvPr>
            <p:ph type="sldNum" sz="quarter" idx="5"/>
          </p:nvPr>
        </p:nvSpPr>
        <p:spPr/>
        <p:txBody>
          <a:bodyPr/>
          <a:lstStyle/>
          <a:p>
            <a:fld id="{CF1CD82C-8186-9E41-8B8B-F66E4066A413}" type="slidenum">
              <a:rPr lang="en-DK" smtClean="0"/>
              <a:pPr/>
              <a:t>4</a:t>
            </a:fld>
            <a:endParaRPr lang="en-DK"/>
          </a:p>
        </p:txBody>
      </p:sp>
    </p:spTree>
    <p:extLst>
      <p:ext uri="{BB962C8B-B14F-4D97-AF65-F5344CB8AC3E}">
        <p14:creationId xmlns:p14="http://schemas.microsoft.com/office/powerpoint/2010/main" val="2754951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Mariam - </a:t>
            </a:r>
          </a:p>
          <a:p>
            <a:r>
              <a:rPr lang="en-US">
                <a:ea typeface="Calibri"/>
                <a:cs typeface="Calibri"/>
              </a:rPr>
              <a:t>Over the past six years, the federal government has distributed approximately $8.58 T in financial assistance to almost 182,000 recipients across the country.</a:t>
            </a:r>
          </a:p>
          <a:p>
            <a:r>
              <a:rPr lang="en-US"/>
              <a:t>But here's what's striking - this map shows funding isn't distributed evenly. Half of all federal assistance - $4.37 trillion - flows to just 10 states. California alone receives over $1 trillion, which is 12% of all federal funding.</a:t>
            </a:r>
            <a:endParaRPr lang="en-US">
              <a:ea typeface="Calibri"/>
              <a:cs typeface="Calibri"/>
            </a:endParaRPr>
          </a:p>
          <a:p>
            <a:endParaRPr lang="en-US">
              <a:ea typeface="Calibri"/>
              <a:cs typeface="Calibri"/>
            </a:endParaRPr>
          </a:p>
          <a:p>
            <a:r>
              <a:rPr lang="en-US"/>
              <a:t>Now, when we look at this map, we can see exactly where the money lands. The darker blue states are receiving the most funding. But here's the critical question..." -pause- "...you can see where the money goes, but can you trust who receives it</a:t>
            </a:r>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5</a:t>
            </a:fld>
            <a:endParaRPr lang="en-US"/>
          </a:p>
        </p:txBody>
      </p:sp>
    </p:spTree>
    <p:extLst>
      <p:ext uri="{BB962C8B-B14F-4D97-AF65-F5344CB8AC3E}">
        <p14:creationId xmlns:p14="http://schemas.microsoft.com/office/powerpoint/2010/main" val="917016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Mariam - </a:t>
            </a:r>
          </a:p>
          <a:p>
            <a:r>
              <a:rPr lang="en-US"/>
              <a:t>Now let's look at what happened to federal spending over the past six years. In 2021, at the height of COVID, federal assistance hit an all-time high of $2.04 trillion - that's the spike you see here. PPP loans, CARES Act funding, enhanced unemployment - money was flowing out at unprecedented speed. By 2022, spending stabilized at around $1.4 trillion, and it's stayed flat through 2024.</a:t>
            </a:r>
            <a:endParaRPr lang="en-US">
              <a:ea typeface="Calibri"/>
              <a:cs typeface="Calibri"/>
            </a:endParaRPr>
          </a:p>
          <a:p>
            <a:endParaRPr lang="en-US">
              <a:ea typeface="Calibri"/>
              <a:cs typeface="Calibri"/>
            </a:endParaRPr>
          </a:p>
          <a:p>
            <a:r>
              <a:rPr lang="en-US"/>
              <a:t>But here's what should concern every taxpayer …"spending increased 76% in just five years. The federal government nearly doubled the baseline of assistance it provides"</a:t>
            </a:r>
            <a:endParaRPr lang="en-US">
              <a:ea typeface="Calibri"/>
              <a:cs typeface="Calibri"/>
            </a:endParaRPr>
          </a:p>
          <a:p>
            <a:endParaRPr lang="en-US">
              <a:ea typeface="Calibri"/>
              <a:cs typeface="Calibri"/>
            </a:endParaRPr>
          </a:p>
          <a:p>
            <a:r>
              <a:rPr lang="en-US">
                <a:ea typeface="Calibri"/>
                <a:cs typeface="Calibri"/>
              </a:rPr>
              <a:t>Gap: </a:t>
            </a:r>
            <a:r>
              <a:rPr lang="en-US"/>
              <a:t>But oversight? The accountability systems? They didn't change at all. We're still using the same frameworks, the same controls, the same manual processes that existed when spending was half this amount.</a:t>
            </a:r>
            <a:endParaRPr lang="en-US">
              <a:ea typeface="Calibri"/>
              <a:cs typeface="Calibri"/>
            </a:endParaRPr>
          </a:p>
          <a:p>
            <a:endParaRPr lang="en-US">
              <a:ea typeface="Calibri"/>
              <a:cs typeface="Calibri"/>
            </a:endParaRPr>
          </a:p>
          <a:p>
            <a:r>
              <a:rPr lang="en-US">
                <a:ea typeface="Calibri"/>
                <a:cs typeface="Calibri"/>
              </a:rPr>
              <a:t>Implication: </a:t>
            </a:r>
            <a:r>
              <a:rPr lang="en-US"/>
              <a:t>During COVID, agencies had to move fast - speed over scrutiny. Billions went out the door in weeks. And now, years later, we're still finding entities that received massive funding despite having documented control failures</a:t>
            </a:r>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6</a:t>
            </a:fld>
            <a:endParaRPr lang="en-US"/>
          </a:p>
        </p:txBody>
      </p:sp>
    </p:spTree>
    <p:extLst>
      <p:ext uri="{BB962C8B-B14F-4D97-AF65-F5344CB8AC3E}">
        <p14:creationId xmlns:p14="http://schemas.microsoft.com/office/powerpoint/2010/main" val="150777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Mariam</a:t>
            </a:r>
          </a:p>
          <a:p>
            <a:endParaRPr lang="en-US">
              <a:ea typeface="Calibri"/>
              <a:cs typeface="Calibri"/>
            </a:endParaRPr>
          </a:p>
          <a:p>
            <a:r>
              <a:rPr lang="en-US">
                <a:ea typeface="Calibri"/>
                <a:cs typeface="Calibri"/>
              </a:rPr>
              <a:t>Transition - </a:t>
            </a:r>
            <a:r>
              <a:rPr lang="en-US"/>
              <a:t>"Now let's look at where all this money is concentrated by agency."</a:t>
            </a:r>
          </a:p>
          <a:p>
            <a:endParaRPr lang="en-US"/>
          </a:p>
          <a:p>
            <a:r>
              <a:rPr lang="en-US"/>
              <a:t>Just 10 agencies are responsible for 92% of all federal financial assistance to recipients nationwide. That's $7.9 trillion out of $8.58 trillion. But it's even more concentrated than that." </a:t>
            </a:r>
          </a:p>
          <a:p>
            <a:r>
              <a:rPr lang="en-US"/>
              <a:t>The Department of Health and Human Services alone manages $3.58 trillion - that's 42% of all federal funding. HHS is nearly half of all federal assistance."</a:t>
            </a:r>
            <a:endParaRPr lang="en-US">
              <a:ea typeface="Calibri" panose="020F0502020204030204"/>
              <a:cs typeface="Calibri" panose="020F0502020204030204"/>
            </a:endParaRPr>
          </a:p>
          <a:p>
            <a:endParaRPr lang="en-US">
              <a:ea typeface="Calibri" panose="020F0502020204030204"/>
              <a:cs typeface="Calibri" panose="020F0502020204030204"/>
            </a:endParaRPr>
          </a:p>
          <a:p>
            <a:r>
              <a:rPr lang="en-US"/>
              <a:t>"When you add USDA - the Department of Agriculture - these two agencies control 67% of federal dollars. Two-thirds of all taxpayer money flows through just two agencies."</a:t>
            </a:r>
            <a:endParaRPr lang="en-US">
              <a:ea typeface="Calibri" panose="020F0502020204030204"/>
              <a:cs typeface="Calibri" panose="020F0502020204030204"/>
            </a:endParaRPr>
          </a:p>
          <a:p>
            <a:r>
              <a:rPr lang="en-US"/>
              <a:t>You can see it in this pie chart - the top 10 are the blue segments representing 92% of funding. That tiny sliver? That's 33 other federal agencies sharing just 8% - $670 billion."</a:t>
            </a:r>
            <a:endParaRPr lang="en-US">
              <a:ea typeface="Calibri" panose="020F0502020204030204"/>
              <a:cs typeface="Calibri" panose="020F0502020204030204"/>
            </a:endParaRPr>
          </a:p>
          <a:p>
            <a:endParaRPr lang="en-US">
              <a:ea typeface="Calibri" panose="020F0502020204030204"/>
              <a:cs typeface="Calibri" panose="020F0502020204030204"/>
            </a:endParaRPr>
          </a:p>
          <a:p>
            <a:r>
              <a:rPr lang="en-US">
                <a:ea typeface="Calibri" panose="020F0502020204030204"/>
                <a:cs typeface="Calibri" panose="020F0502020204030204"/>
              </a:rPr>
              <a:t>Implication: </a:t>
            </a:r>
            <a:r>
              <a:rPr lang="en-US"/>
              <a:t>Here's why this matters..." [pause, gesture to bottom callout] "...67% of federal dollars flow through just two agencies. So the question becomes: who's watching where it goes?"</a:t>
            </a:r>
            <a:endParaRPr lang="en-US">
              <a:ea typeface="Calibri" panose="020F0502020204030204"/>
              <a:cs typeface="Calibri" panose="020F0502020204030204"/>
            </a:endParaRPr>
          </a:p>
          <a:p>
            <a:r>
              <a:rPr lang="en-US"/>
              <a:t>Set up the concern: "When funding is this concentrated, accountability failures at HHS or USDA don't just affect one program - they affect trillions in taxpayer dollars."</a:t>
            </a:r>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B6EDE8EB-D8FD-45B4-B835-E0178FFBD4F6}" type="slidenum">
              <a:rPr lang="en-US"/>
              <a:t>7</a:t>
            </a:fld>
            <a:endParaRPr lang="en-US"/>
          </a:p>
        </p:txBody>
      </p:sp>
    </p:spTree>
    <p:extLst>
      <p:ext uri="{BB962C8B-B14F-4D97-AF65-F5344CB8AC3E}">
        <p14:creationId xmlns:p14="http://schemas.microsoft.com/office/powerpoint/2010/main" val="161184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Federal</a:t>
            </a:r>
            <a:r>
              <a:rPr lang="en-US"/>
              <a:t> audits from 2016-2024 uncovered over 220,000 findings across 57,448 entities, with 75,734 material weaknesses—averaging 3.8 problems per entity. The data shows five main types of control failures: significant deficiencies, material weaknesses, repeat findings, modified opinions, and questioned costs—revealing systemic issues in how federal funds are managed. But here's the critical question: audits surface the problems, but how do we measure the risk when audit coverage runs out?</a:t>
            </a:r>
          </a:p>
          <a:p>
            <a:r>
              <a:rPr lang="en-US"/>
              <a:t> </a:t>
            </a:r>
            <a:endParaRPr lang="en-US">
              <a:ea typeface="Calibri"/>
              <a:cs typeface="Calibri"/>
            </a:endParaRPr>
          </a:p>
          <a:p>
            <a:endParaRPr lang="en-US">
              <a:ea typeface="Calibri"/>
              <a:cs typeface="Calibri"/>
            </a:endParaRPr>
          </a:p>
          <a:p>
            <a:br>
              <a:rPr lang="en-US"/>
            </a:br>
            <a:endParaRPr lang="en-US"/>
          </a:p>
        </p:txBody>
      </p:sp>
      <p:sp>
        <p:nvSpPr>
          <p:cNvPr id="4" name="Slide Number Placeholder 3"/>
          <p:cNvSpPr>
            <a:spLocks noGrp="1"/>
          </p:cNvSpPr>
          <p:nvPr>
            <p:ph type="sldNum" sz="quarter" idx="5"/>
          </p:nvPr>
        </p:nvSpPr>
        <p:spPr/>
        <p:txBody>
          <a:bodyPr/>
          <a:lstStyle/>
          <a:p>
            <a:fld id="{B6EDE8EB-D8FD-45B4-B835-E0178FFBD4F6}" type="slidenum">
              <a:rPr lang="en-US"/>
              <a:t>8</a:t>
            </a:fld>
            <a:endParaRPr lang="en-US"/>
          </a:p>
        </p:txBody>
      </p:sp>
    </p:spTree>
    <p:extLst>
      <p:ext uri="{BB962C8B-B14F-4D97-AF65-F5344CB8AC3E}">
        <p14:creationId xmlns:p14="http://schemas.microsoft.com/office/powerpoint/2010/main" val="250220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isk isn't spread evenly — it's concentrated.</a:t>
            </a:r>
          </a:p>
          <a:p>
            <a:r>
              <a:rPr lang="en-US"/>
              <a:t> </a:t>
            </a:r>
            <a:endParaRPr lang="en-US">
              <a:ea typeface="Calibri"/>
              <a:cs typeface="Calibri"/>
            </a:endParaRPr>
          </a:p>
          <a:p>
            <a:r>
              <a:rPr lang="en-US"/>
              <a:t>We analyzed over 332,000 audit findings across 16,000 entities.</a:t>
            </a:r>
            <a:endParaRPr lang="en-US">
              <a:ea typeface="Calibri"/>
              <a:cs typeface="Calibri"/>
            </a:endParaRPr>
          </a:p>
          <a:p>
            <a:r>
              <a:rPr lang="en-US"/>
              <a:t>Look at this chart: just 20 entities — led by Texas, Howard University, Florida, Wisconsin — account for 13% of all findings.</a:t>
            </a:r>
            <a:endParaRPr lang="en-US">
              <a:ea typeface="Calibri"/>
              <a:cs typeface="Calibri"/>
            </a:endParaRPr>
          </a:p>
          <a:p>
            <a:r>
              <a:rPr lang="en-US"/>
              <a:t>The Top 20 average 2,239 findings each. Everyone else? Just 18.</a:t>
            </a:r>
            <a:endParaRPr lang="en-US">
              <a:ea typeface="Calibri"/>
              <a:cs typeface="Calibri"/>
            </a:endParaRPr>
          </a:p>
          <a:p>
            <a:r>
              <a:rPr lang="en-US"/>
              <a:t> </a:t>
            </a:r>
            <a:endParaRPr lang="en-US">
              <a:ea typeface="Calibri"/>
              <a:cs typeface="Calibri"/>
            </a:endParaRPr>
          </a:p>
          <a:p>
            <a:r>
              <a:rPr lang="en-US"/>
              <a:t>That's 124 times the average.</a:t>
            </a:r>
            <a:endParaRPr lang="en-US">
              <a:ea typeface="Calibri"/>
              <a:cs typeface="Calibri"/>
            </a:endParaRPr>
          </a:p>
          <a:p>
            <a:r>
              <a:rPr lang="en-US"/>
              <a:t>This concentration is why we built the Taxpayer Protection Score — to identify these high-risk entities before they receive more funding.</a:t>
            </a:r>
            <a:endParaRPr lang="en-US">
              <a:ea typeface="Calibri"/>
              <a:cs typeface="Calibri"/>
            </a:endParaRPr>
          </a:p>
        </p:txBody>
      </p:sp>
      <p:sp>
        <p:nvSpPr>
          <p:cNvPr id="4" name="Slide Number Placeholder 3"/>
          <p:cNvSpPr>
            <a:spLocks noGrp="1"/>
          </p:cNvSpPr>
          <p:nvPr>
            <p:ph type="sldNum" sz="quarter" idx="5"/>
          </p:nvPr>
        </p:nvSpPr>
        <p:spPr/>
        <p:txBody>
          <a:bodyPr/>
          <a:lstStyle/>
          <a:p>
            <a:fld id="{B6EDE8EB-D8FD-45B4-B835-E0178FFBD4F6}" type="slidenum">
              <a:rPr lang="en-US"/>
              <a:t>9</a:t>
            </a:fld>
            <a:endParaRPr lang="en-US"/>
          </a:p>
        </p:txBody>
      </p:sp>
    </p:spTree>
    <p:extLst>
      <p:ext uri="{BB962C8B-B14F-4D97-AF65-F5344CB8AC3E}">
        <p14:creationId xmlns:p14="http://schemas.microsoft.com/office/powerpoint/2010/main" val="9339284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18/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a:t>Section marker</a:t>
            </a:r>
          </a:p>
        </p:txBody>
      </p:sp>
    </p:spTree>
    <p:extLst>
      <p:ext uri="{BB962C8B-B14F-4D97-AF65-F5344CB8AC3E}">
        <p14:creationId xmlns:p14="http://schemas.microsoft.com/office/powerpoint/2010/main" val="103057670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a:t>Section marker</a:t>
            </a:r>
          </a:p>
        </p:txBody>
      </p:sp>
    </p:spTree>
    <p:extLst>
      <p:ext uri="{BB962C8B-B14F-4D97-AF65-F5344CB8AC3E}">
        <p14:creationId xmlns:p14="http://schemas.microsoft.com/office/powerpoint/2010/main" val="35615376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a:t>Section marker</a:t>
            </a:r>
          </a:p>
        </p:txBody>
      </p:sp>
    </p:spTree>
    <p:extLst>
      <p:ext uri="{BB962C8B-B14F-4D97-AF65-F5344CB8AC3E}">
        <p14:creationId xmlns:p14="http://schemas.microsoft.com/office/powerpoint/2010/main" val="429101389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C54CE3BD-55D7-42CB-8D9D-17E2A0D74581}"/>
              </a:ext>
            </a:extLst>
          </p:cNvPr>
          <p:cNvSpPr/>
          <p:nvPr>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2"/>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4"/>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5"/>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a:t>Click to change Master title style</a:t>
            </a:r>
          </a:p>
        </p:txBody>
      </p:sp>
    </p:spTree>
    <p:extLst>
      <p:ext uri="{BB962C8B-B14F-4D97-AF65-F5344CB8AC3E}">
        <p14:creationId xmlns:p14="http://schemas.microsoft.com/office/powerpoint/2010/main" val="1215306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63560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8/2026</a:t>
            </a:fld>
            <a:endParaRPr lang="en-US"/>
          </a:p>
        </p:txBody>
      </p:sp>
      <p:sp>
        <p:nvSpPr>
          <p:cNvPr id="5" name="Footer Placeholder 4"/>
          <p:cNvSpPr>
            <a:spLocks noGrp="1"/>
          </p:cNvSpPr>
          <p:nvPr>
            <p:ph type="ftr" sz="quarter" idx="11"/>
          </p:nvPr>
        </p:nvSpPr>
        <p:spPr/>
        <p:txBody>
          <a:bodyPr/>
          <a:lstStyle/>
          <a:p>
            <a:r>
              <a:rPr lang="en-US"/>
              <a:t>j</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18/2026</a:t>
            </a:fld>
            <a:endParaRPr lang="en-US"/>
          </a:p>
        </p:txBody>
      </p:sp>
      <p:sp>
        <p:nvSpPr>
          <p:cNvPr id="6" name="Footer Placeholder 5"/>
          <p:cNvSpPr>
            <a:spLocks noGrp="1"/>
          </p:cNvSpPr>
          <p:nvPr>
            <p:ph type="ftr" sz="quarter" idx="11"/>
          </p:nvPr>
        </p:nvSpPr>
        <p:spPr/>
        <p:txBody>
          <a:bodyPr/>
          <a:lstStyle/>
          <a:p>
            <a:r>
              <a:rPr lang="en-US"/>
              <a:t>j</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18/2026</a:t>
            </a:fld>
            <a:endParaRPr lang="en-US"/>
          </a:p>
        </p:txBody>
      </p:sp>
      <p:sp>
        <p:nvSpPr>
          <p:cNvPr id="8" name="Footer Placeholder 7"/>
          <p:cNvSpPr>
            <a:spLocks noGrp="1"/>
          </p:cNvSpPr>
          <p:nvPr>
            <p:ph type="ftr" sz="quarter" idx="11"/>
          </p:nvPr>
        </p:nvSpPr>
        <p:spPr/>
        <p:txBody>
          <a:bodyPr/>
          <a:lstStyle/>
          <a:p>
            <a:r>
              <a:rPr lang="en-US"/>
              <a:t>j</a:t>
            </a:r>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18/2026</a:t>
            </a:fld>
            <a:endParaRPr lang="en-US"/>
          </a:p>
        </p:txBody>
      </p:sp>
      <p:sp>
        <p:nvSpPr>
          <p:cNvPr id="4" name="Footer Placeholder 3"/>
          <p:cNvSpPr>
            <a:spLocks noGrp="1"/>
          </p:cNvSpPr>
          <p:nvPr>
            <p:ph type="ftr" sz="quarter" idx="11"/>
          </p:nvPr>
        </p:nvSpPr>
        <p:spPr/>
        <p:txBody>
          <a:bodyPr/>
          <a:lstStyle/>
          <a:p>
            <a:r>
              <a:rPr lang="en-US"/>
              <a:t>j</a:t>
            </a:r>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8/2026</a:t>
            </a:fld>
            <a:endParaRPr lang="en-US"/>
          </a:p>
        </p:txBody>
      </p:sp>
      <p:sp>
        <p:nvSpPr>
          <p:cNvPr id="3" name="Footer Placeholder 2"/>
          <p:cNvSpPr>
            <a:spLocks noGrp="1"/>
          </p:cNvSpPr>
          <p:nvPr>
            <p:ph type="ftr" sz="quarter" idx="11"/>
          </p:nvPr>
        </p:nvSpPr>
        <p:spPr/>
        <p:txBody>
          <a:bodyPr/>
          <a:lstStyle/>
          <a:p>
            <a:r>
              <a:rPr lang="en-US"/>
              <a:t>j</a:t>
            </a:r>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8/2026</a:t>
            </a:fld>
            <a:endParaRPr lang="en-US"/>
          </a:p>
        </p:txBody>
      </p:sp>
      <p:sp>
        <p:nvSpPr>
          <p:cNvPr id="6" name="Footer Placeholder 5"/>
          <p:cNvSpPr>
            <a:spLocks noGrp="1"/>
          </p:cNvSpPr>
          <p:nvPr>
            <p:ph type="ftr" sz="quarter" idx="11"/>
          </p:nvPr>
        </p:nvSpPr>
        <p:spPr/>
        <p:txBody>
          <a:bodyPr/>
          <a:lstStyle/>
          <a:p>
            <a:r>
              <a:rPr lang="en-US"/>
              <a:t>j</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8/2026</a:t>
            </a:fld>
            <a:endParaRPr lang="en-US"/>
          </a:p>
        </p:txBody>
      </p:sp>
      <p:sp>
        <p:nvSpPr>
          <p:cNvPr id="6" name="Footer Placeholder 5"/>
          <p:cNvSpPr>
            <a:spLocks noGrp="1"/>
          </p:cNvSpPr>
          <p:nvPr>
            <p:ph type="ftr" sz="quarter" idx="11"/>
          </p:nvPr>
        </p:nvSpPr>
        <p:spPr/>
        <p:txBody>
          <a:bodyPr/>
          <a:lstStyle/>
          <a:p>
            <a:r>
              <a:rPr lang="en-US"/>
              <a:t>j</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18/202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j</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22.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21.xml"/><Relationship Id="rId6" Type="http://schemas.openxmlformats.org/officeDocument/2006/relationships/image" Target="../media/image23.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8" Type="http://schemas.openxmlformats.org/officeDocument/2006/relationships/hyperlink" Target="https://github.com/fiscalpatriots/AGA_Datathon_2026/blob/main/assets/pipeline.png" TargetMode="External"/><Relationship Id="rId13" Type="http://schemas.openxmlformats.org/officeDocument/2006/relationships/hyperlink" Target="https://github.com/fiscalpatriots/AGA_Datathon_2026/blob/main/docs/appendix_hubs/scoring/weighting_rationale.md" TargetMode="External"/><Relationship Id="rId18" Type="http://schemas.openxmlformats.org/officeDocument/2006/relationships/hyperlink" Target="https://github.com/fiscalpatriots/AGA_Datathon_2026/blob/main/docs/appendix_hubs/ml/feature_list_and_importance.md" TargetMode="External"/><Relationship Id="rId3" Type="http://schemas.openxmlformats.org/officeDocument/2006/relationships/hyperlink" Target="https://github.com/fiscalpatriots/AGA_Datathon_2026/blob/main/docs/appendix_hubs/data_sources/usaspending_api_and_dictionary.md" TargetMode="External"/><Relationship Id="rId21" Type="http://schemas.openxmlformats.org/officeDocument/2006/relationships/hyperlink" Target="https://github.com/fiscalpatriots/AGA_Datathon_2026/blob/main/docs/appendix_hubs/regulatory/gao_05_479.md" TargetMode="External"/><Relationship Id="rId7" Type="http://schemas.openxmlformats.org/officeDocument/2006/relationships/hyperlink" Target="https://github.com/fiscalpatriots/AGA_Datathon_2026/blob/main/docs/appendix_hubs/data_sources/data_dictionaries_in_repo.md" TargetMode="External"/><Relationship Id="rId12" Type="http://schemas.openxmlformats.org/officeDocument/2006/relationships/hyperlink" Target="https://github.com/fiscalpatriots/AGA_Datathon_2026/blob/main/docs/appendix_hubs/scoring/variable_definitions.md" TargetMode="External"/><Relationship Id="rId17" Type="http://schemas.openxmlformats.org/officeDocument/2006/relationships/hyperlink" Target="https://github.com/fiscalpatriots/AGA_Datathon_2026/blob/main/docs/appendix_hubs/ml/train_test_split_methodology.md" TargetMode="External"/><Relationship Id="rId25" Type="http://schemas.openxmlformats.org/officeDocument/2006/relationships/hyperlink" Target="https://github.com/fiscalpatriots/AGA_Datathon_2026/blob/main/docs/appendix_hubs/case_studies/supporting_documentation.md" TargetMode="External"/><Relationship Id="rId2" Type="http://schemas.openxmlformats.org/officeDocument/2006/relationships/notesSlide" Target="../notesSlides/notesSlide18.xml"/><Relationship Id="rId16" Type="http://schemas.openxmlformats.org/officeDocument/2006/relationships/hyperlink" Target="https://github.com/fiscalpatriots/AGA_Datathon_2026/blob/main/docs/appendix_hubs/ml/ml_training_dataset_build_workflow.md" TargetMode="External"/><Relationship Id="rId20" Type="http://schemas.openxmlformats.org/officeDocument/2006/relationships/hyperlink" Target="https://github.com/fiscalpatriots/AGA_Datathon_2026/blob/main/docs/appendix_hubs/ml/final_ml_ready_outputs.md" TargetMode="External"/><Relationship Id="rId1" Type="http://schemas.openxmlformats.org/officeDocument/2006/relationships/slideLayout" Target="../slideLayouts/slideLayout13.xml"/><Relationship Id="rId6" Type="http://schemas.openxmlformats.org/officeDocument/2006/relationships/hyperlink" Target="https://github.com/fiscalpatriots/AGA_Datathon_2026/blob/main/docs/appendix_hubs/data_sources/allowable_data_sources_competition_rules.md" TargetMode="External"/><Relationship Id="rId11" Type="http://schemas.openxmlformats.org/officeDocument/2006/relationships/hyperlink" Target="https://github.com/fiscalpatriots/AGA_Datathon_2026/blob/main/docs/appendix_hubs/methodology/data_acquisition_notes.md" TargetMode="External"/><Relationship Id="rId24" Type="http://schemas.openxmlformats.org/officeDocument/2006/relationships/hyperlink" Target="https://github.com/fiscalpatriots/AGA_Datathon_2026/blob/main/docs/appendix_hubs/case_studies/full_audit_findings.md" TargetMode="External"/><Relationship Id="rId5" Type="http://schemas.openxmlformats.org/officeDocument/2006/relationships/hyperlink" Target="https://github.com/fiscalpatriots/AGA_Datathon_2026/blob/main/docs/appendix_hubs/data_sources/sam_exclusions_public_extract.md" TargetMode="External"/><Relationship Id="rId15" Type="http://schemas.openxmlformats.org/officeDocument/2006/relationships/hyperlink" Target="https://github.com/fiscalpatriots/AGA_Datathon_2026/blob/main/docs/appendix_hubs/scoring/problem_entity_rule.md" TargetMode="External"/><Relationship Id="rId23" Type="http://schemas.openxmlformats.org/officeDocument/2006/relationships/hyperlink" Target="https://github.com/fiscalpatriots/AGA_Datathon_2026/blob/main/docs/appendix_hubs/regulatory/2cfr200_subpart_f.md" TargetMode="External"/><Relationship Id="rId10" Type="http://schemas.openxmlformats.org/officeDocument/2006/relationships/hyperlink" Target="http://github.com/fiscalpatriots/AGA_Datathon_2026/blob/main/docs/appendix_hubs/methodology/alteryx_workflows_and_screenshots.md" TargetMode="External"/><Relationship Id="rId19" Type="http://schemas.openxmlformats.org/officeDocument/2006/relationships/hyperlink" Target="https://github.com/fiscalpatriots/AGA_Datathon_2026/blob/main/docs/appendix_hubs/ml/model_validation_metrics.md" TargetMode="External"/><Relationship Id="rId4" Type="http://schemas.openxmlformats.org/officeDocument/2006/relationships/hyperlink" Target="https://github.com/fiscalpatriots/AGA_Datathon_2026/blob/main/docs/appendix_hubs/data_sources/fac_dataset_overview_and_files_used.md" TargetMode="External"/><Relationship Id="rId9" Type="http://schemas.openxmlformats.org/officeDocument/2006/relationships/hyperlink" Target="https://github.com/fiscalpatriots/AGA_Datathon_2026/blob/main/pipeline/data_contract.md" TargetMode="External"/><Relationship Id="rId14" Type="http://schemas.openxmlformats.org/officeDocument/2006/relationships/hyperlink" Target="https://github.com/fiscalpatriots/AGA_Datathon_2026/blob/main/docs/appendix_hubs/scoring/score_formula_and_tiers.md" TargetMode="External"/><Relationship Id="rId22" Type="http://schemas.openxmlformats.org/officeDocument/2006/relationships/hyperlink" Target="https://github.com/fiscalpatriots/AGA_Datathon_2026/blob/main/docs/appendix_hubs/regulatory/gao_09_174.md"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2.xml"/><Relationship Id="rId7" Type="http://schemas.openxmlformats.org/officeDocument/2006/relationships/image" Target="../media/image5.jpe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 Id="rId9"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6.svg"/><Relationship Id="rId2" Type="http://schemas.openxmlformats.org/officeDocument/2006/relationships/slideLayout" Target="../slideLayouts/slideLayout13.xml"/><Relationship Id="rId1" Type="http://schemas.openxmlformats.org/officeDocument/2006/relationships/tags" Target="../tags/tag22.xml"/><Relationship Id="rId6" Type="http://schemas.openxmlformats.org/officeDocument/2006/relationships/image" Target="../media/image25.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srcRect/>
          <a:stretch>
            <a:fillRect/>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44876"/>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defRPr/>
            </a:pPr>
            <a:endParaRPr lang="en-US" sz="2000" kern="0">
              <a:latin typeface="Arial"/>
              <a:ea typeface="Arial"/>
              <a:cs typeface="Arial"/>
            </a:endParaRPr>
          </a:p>
          <a:p>
            <a:pPr>
              <a:buSzPts val="1800"/>
              <a:buFont typeface="Arial"/>
              <a:defRPr/>
            </a:pPr>
            <a:endParaRPr lang="en-US" sz="1800" b="0" i="0" u="none" strike="noStrike" kern="0" cap="none" spc="0" normalizeH="0" baseline="0" noProof="0">
              <a:ln>
                <a:noFill/>
              </a:ln>
              <a:effectLst/>
              <a:uLnTx/>
              <a:uFillTx/>
              <a:latin typeface="Arial"/>
              <a:ea typeface="Arial"/>
              <a:cs typeface="Arial"/>
            </a:endParaRPr>
          </a:p>
        </p:txBody>
      </p:sp>
      <p:sp>
        <p:nvSpPr>
          <p:cNvPr id="187" name="Google Shape;187;p1"/>
          <p:cNvSpPr txBox="1"/>
          <p:nvPr/>
        </p:nvSpPr>
        <p:spPr>
          <a:xfrm>
            <a:off x="332934" y="4803517"/>
            <a:ext cx="6790875" cy="1692731"/>
          </a:xfrm>
          <a:prstGeom prst="rect">
            <a:avLst/>
          </a:prstGeom>
          <a:noFill/>
          <a:ln>
            <a:noFill/>
          </a:ln>
        </p:spPr>
        <p:txBody>
          <a:bodyPr spcFirstLastPara="1" wrap="square" lIns="91425" tIns="45700" rIns="91425" bIns="45700" anchor="t" anchorCtr="0">
            <a:spAutoFit/>
          </a:bodyPr>
          <a:lstStyle/>
          <a:p>
            <a:pPr>
              <a:defRPr/>
            </a:pPr>
            <a:r>
              <a:rPr lang="en-US" sz="4400" b="1" kern="0">
                <a:latin typeface="Arial"/>
                <a:cs typeface="Arial"/>
                <a:sym typeface="Georgia"/>
              </a:rPr>
              <a:t>Follow the Money</a:t>
            </a:r>
            <a:endParaRPr lang="en-US"/>
          </a:p>
          <a:p>
            <a:pPr>
              <a:defRPr/>
            </a:pPr>
            <a:r>
              <a:rPr lang="en-US" sz="2000" kern="0">
                <a:latin typeface="Arial"/>
                <a:cs typeface="Arial"/>
              </a:rPr>
              <a:t>Trust The Recipient</a:t>
            </a:r>
            <a:br>
              <a:rPr lang="en-US" sz="2000" kern="0">
                <a:latin typeface="Arial"/>
                <a:cs typeface="Arial"/>
              </a:rPr>
            </a:br>
            <a:endParaRPr lang="en-US" sz="2000" kern="0">
              <a:latin typeface="Arial"/>
              <a:cs typeface="Arial"/>
            </a:endParaRPr>
          </a:p>
          <a:p>
            <a:pPr>
              <a:defRPr/>
            </a:pPr>
            <a:endParaRPr lang="en-US" sz="2000" kern="0">
              <a:latin typeface="Arial"/>
              <a:cs typeface="Arial"/>
            </a:endParaRPr>
          </a:p>
        </p:txBody>
      </p:sp>
      <p:sp>
        <p:nvSpPr>
          <p:cNvPr id="2" name="TextBox 1">
            <a:extLst>
              <a:ext uri="{FF2B5EF4-FFF2-40B4-BE49-F238E27FC236}">
                <a16:creationId xmlns:a16="http://schemas.microsoft.com/office/drawing/2014/main" id="{438B2E2C-1C55-0D57-C7FD-6236507D8BB5}"/>
              </a:ext>
            </a:extLst>
          </p:cNvPr>
          <p:cNvSpPr txBox="1"/>
          <p:nvPr/>
        </p:nvSpPr>
        <p:spPr>
          <a:xfrm>
            <a:off x="329045" y="3281796"/>
            <a:ext cx="7778883"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b="1">
                <a:solidFill>
                  <a:schemeClr val="bg1"/>
                </a:solidFill>
                <a:latin typeface="Arial"/>
              </a:rPr>
              <a:t>Fiscal Patriots </a:t>
            </a:r>
            <a:br>
              <a:rPr lang="en-US" sz="4000" b="1">
                <a:latin typeface="Arial"/>
              </a:rPr>
            </a:br>
            <a:r>
              <a:rPr lang="en-US" sz="4000" b="1">
                <a:solidFill>
                  <a:schemeClr val="bg1"/>
                </a:solidFill>
                <a:latin typeface="Arial"/>
              </a:rPr>
              <a:t>Dashboard</a:t>
            </a:r>
            <a:endParaRPr lang="en-US" sz="4000">
              <a:solidFill>
                <a:schemeClr val="bg1"/>
              </a:solidFill>
            </a:endParaRPr>
          </a:p>
          <a:p>
            <a:pPr algn="ctr"/>
            <a:endParaRPr lang="en-US"/>
          </a:p>
        </p:txBody>
      </p:sp>
      <p:sp>
        <p:nvSpPr>
          <p:cNvPr id="3" name="Google Shape;187;p1">
            <a:extLst>
              <a:ext uri="{FF2B5EF4-FFF2-40B4-BE49-F238E27FC236}">
                <a16:creationId xmlns:a16="http://schemas.microsoft.com/office/drawing/2014/main" id="{4FA2E13C-38B3-E72E-8D88-7A29223EFF13}"/>
              </a:ext>
            </a:extLst>
          </p:cNvPr>
          <p:cNvSpPr txBox="1"/>
          <p:nvPr/>
        </p:nvSpPr>
        <p:spPr>
          <a:xfrm>
            <a:off x="8108795" y="5846031"/>
            <a:ext cx="4080581" cy="646290"/>
          </a:xfrm>
          <a:prstGeom prst="rect">
            <a:avLst/>
          </a:prstGeom>
          <a:noFill/>
          <a:ln>
            <a:noFill/>
          </a:ln>
        </p:spPr>
        <p:txBody>
          <a:bodyPr spcFirstLastPara="1" wrap="square" lIns="91425" tIns="45700" rIns="91425" bIns="45700" anchor="t" anchorCtr="0">
            <a:spAutoFit/>
          </a:bodyPr>
          <a:lstStyle/>
          <a:p>
            <a:pPr>
              <a:defRPr/>
            </a:pPr>
            <a:r>
              <a:rPr lang="en-US" sz="900">
                <a:latin typeface="Arial"/>
                <a:cs typeface="Arial"/>
              </a:rPr>
              <a:t>By: Khaled </a:t>
            </a:r>
            <a:r>
              <a:rPr lang="en-US" sz="900" err="1">
                <a:latin typeface="Arial"/>
                <a:cs typeface="Arial"/>
              </a:rPr>
              <a:t>Alkurd</a:t>
            </a:r>
            <a:r>
              <a:rPr lang="en-US" sz="900">
                <a:latin typeface="Arial"/>
                <a:cs typeface="Arial"/>
              </a:rPr>
              <a:t>, Nikita </a:t>
            </a:r>
            <a:r>
              <a:rPr lang="en-US" sz="900" err="1">
                <a:latin typeface="Arial"/>
                <a:cs typeface="Arial"/>
              </a:rPr>
              <a:t>Chandrasing</a:t>
            </a:r>
            <a:r>
              <a:rPr lang="en-US" sz="900">
                <a:latin typeface="Arial"/>
                <a:cs typeface="Arial"/>
              </a:rPr>
              <a:t>, Mariam </a:t>
            </a:r>
            <a:r>
              <a:rPr lang="en-US" sz="900" err="1">
                <a:latin typeface="Arial"/>
                <a:cs typeface="Arial"/>
              </a:rPr>
              <a:t>Debas</a:t>
            </a:r>
            <a:r>
              <a:rPr lang="en-US" sz="900">
                <a:latin typeface="Arial"/>
                <a:cs typeface="Arial"/>
              </a:rPr>
              <a:t>, Pranavi </a:t>
            </a:r>
            <a:r>
              <a:rPr lang="en-US" sz="900" err="1">
                <a:latin typeface="Arial"/>
                <a:cs typeface="Arial"/>
              </a:rPr>
              <a:t>Doodala</a:t>
            </a:r>
            <a:r>
              <a:rPr lang="en-US" sz="900">
                <a:latin typeface="Arial"/>
                <a:cs typeface="Arial"/>
              </a:rPr>
              <a:t>, Andy Yaro   </a:t>
            </a:r>
            <a:br>
              <a:rPr lang="en-US" sz="900">
                <a:latin typeface="Arial"/>
                <a:cs typeface="Arial"/>
              </a:rPr>
            </a:br>
            <a:br>
              <a:rPr lang="en-US" sz="900">
                <a:latin typeface="Arial"/>
                <a:cs typeface="Arial"/>
              </a:rPr>
            </a:br>
            <a:r>
              <a:rPr lang="en-US" sz="900">
                <a:latin typeface="Arial"/>
                <a:cs typeface="Arial"/>
              </a:rPr>
              <a:t>George Mason University Costello College of Business</a:t>
            </a:r>
            <a:endParaRPr lang="en-US" sz="2000" kern="0">
              <a:latin typeface="Arial"/>
              <a:cs typeface="Arial"/>
            </a:endParaRPr>
          </a:p>
        </p:txBody>
      </p:sp>
      <p:sp>
        <p:nvSpPr>
          <p:cNvPr id="5" name="Google Shape;538;p14">
            <a:extLst>
              <a:ext uri="{FF2B5EF4-FFF2-40B4-BE49-F238E27FC236}">
                <a16:creationId xmlns:a16="http://schemas.microsoft.com/office/drawing/2014/main" id="{4D94FD09-7082-DAF6-1C11-FEDAE7453432}"/>
              </a:ext>
            </a:extLst>
          </p:cNvPr>
          <p:cNvSpPr txBox="1"/>
          <p:nvPr/>
        </p:nvSpPr>
        <p:spPr>
          <a:xfrm>
            <a:off x="334899" y="6172221"/>
            <a:ext cx="9393824" cy="329683"/>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Tree>
    <p:extLst>
      <p:ext uri="{BB962C8B-B14F-4D97-AF65-F5344CB8AC3E}">
        <p14:creationId xmlns:p14="http://schemas.microsoft.com/office/powerpoint/2010/main" val="2579588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A5DD52D-8105-0622-54D5-DC35D7378356}"/>
              </a:ext>
            </a:extLst>
          </p:cNvPr>
          <p:cNvSpPr>
            <a:spLocks noGrp="1"/>
          </p:cNvSpPr>
          <p:nvPr>
            <p:ph type="title"/>
          </p:nvPr>
        </p:nvSpPr>
        <p:spPr>
          <a:xfrm>
            <a:off x="554736" y="109851"/>
            <a:ext cx="10329286" cy="801858"/>
          </a:xfrm>
        </p:spPr>
        <p:txBody>
          <a:bodyPr>
            <a:normAutofit/>
          </a:bodyPr>
          <a:lstStyle/>
          <a:p>
            <a:r>
              <a:rPr lang="en-GB">
                <a:highlight>
                  <a:srgbClr val="FFFFFF"/>
                </a:highlight>
                <a:latin typeface="Arial"/>
                <a:cs typeface="Arial"/>
              </a:rPr>
              <a:t>The Audit Health Score</a:t>
            </a:r>
            <a:endParaRPr lang="en-US"/>
          </a:p>
        </p:txBody>
      </p:sp>
      <p:sp>
        <p:nvSpPr>
          <p:cNvPr id="5" name="Subtitle 4">
            <a:extLst>
              <a:ext uri="{FF2B5EF4-FFF2-40B4-BE49-F238E27FC236}">
                <a16:creationId xmlns:a16="http://schemas.microsoft.com/office/drawing/2014/main" id="{72A45991-FE09-63F6-1DD9-092343BE23A5}"/>
              </a:ext>
            </a:extLst>
          </p:cNvPr>
          <p:cNvSpPr>
            <a:spLocks noGrp="1"/>
          </p:cNvSpPr>
          <p:nvPr>
            <p:ph type="subTitle" idx="1"/>
          </p:nvPr>
        </p:nvSpPr>
        <p:spPr>
          <a:xfrm>
            <a:off x="8881634" y="918084"/>
            <a:ext cx="2505795" cy="531000"/>
          </a:xfrm>
        </p:spPr>
        <p:txBody>
          <a:bodyPr vert="horz" wrap="square" lIns="91440" tIns="45720" rIns="91440" bIns="45720" rtlCol="0" anchor="t">
            <a:noAutofit/>
          </a:bodyPr>
          <a:lstStyle/>
          <a:p>
            <a:pPr algn="ctr"/>
            <a:r>
              <a:rPr lang="en-US">
                <a:latin typeface="Arial"/>
                <a:cs typeface="Arial"/>
              </a:rPr>
              <a:t>Score = 100 - Risk Points (capped 0-100)</a:t>
            </a:r>
          </a:p>
          <a:p>
            <a:pPr algn="ctr"/>
            <a:endParaRPr lang="en-US"/>
          </a:p>
        </p:txBody>
      </p:sp>
      <p:sp>
        <p:nvSpPr>
          <p:cNvPr id="9" name="Rectangle 8">
            <a:extLst>
              <a:ext uri="{FF2B5EF4-FFF2-40B4-BE49-F238E27FC236}">
                <a16:creationId xmlns:a16="http://schemas.microsoft.com/office/drawing/2014/main" id="{24023538-CA68-F071-530D-3F703CB6FBFB}"/>
              </a:ext>
            </a:extLst>
          </p:cNvPr>
          <p:cNvSpPr/>
          <p:nvPr/>
        </p:nvSpPr>
        <p:spPr>
          <a:xfrm>
            <a:off x="554736" y="1455564"/>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554736" y="1729510"/>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2834134" y="1455564"/>
            <a:ext cx="8804231"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Risk Factor Rationale</a:t>
            </a:r>
            <a:endParaRPr lang="en-US"/>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2836017" y="1729510"/>
            <a:ext cx="879779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554736" y="1865193"/>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Key Risk Factors</a:t>
            </a:r>
            <a:endParaRPr lang="en-US"/>
          </a:p>
        </p:txBody>
      </p:sp>
      <p:sp>
        <p:nvSpPr>
          <p:cNvPr id="16" name="Rectangle 15">
            <a:extLst>
              <a:ext uri="{FF2B5EF4-FFF2-40B4-BE49-F238E27FC236}">
                <a16:creationId xmlns:a16="http://schemas.microsoft.com/office/drawing/2014/main" id="{61C0EC47-17B2-D260-9314-A387700C359C}"/>
              </a:ext>
            </a:extLst>
          </p:cNvPr>
          <p:cNvSpPr/>
          <p:nvPr/>
        </p:nvSpPr>
        <p:spPr>
          <a:xfrm>
            <a:off x="554736" y="3320680"/>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Mitigating Factors</a:t>
            </a:r>
            <a:endParaRPr lang="en-US"/>
          </a:p>
        </p:txBody>
      </p:sp>
      <p:sp>
        <p:nvSpPr>
          <p:cNvPr id="17" name="Rectangle 16">
            <a:extLst>
              <a:ext uri="{FF2B5EF4-FFF2-40B4-BE49-F238E27FC236}">
                <a16:creationId xmlns:a16="http://schemas.microsoft.com/office/drawing/2014/main" id="{F1F14F29-D652-7310-C817-4FADE962550F}"/>
              </a:ext>
            </a:extLst>
          </p:cNvPr>
          <p:cNvSpPr/>
          <p:nvPr/>
        </p:nvSpPr>
        <p:spPr>
          <a:xfrm>
            <a:off x="554736" y="4776167"/>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a:solidFill>
                  <a:schemeClr val="bg1"/>
                </a:solidFill>
              </a:rPr>
              <a:t>Risk Tiers</a:t>
            </a:r>
            <a:endParaRPr lang="en-US">
              <a:solidFill>
                <a:schemeClr val="bg1"/>
              </a:solidFill>
            </a:endParaRPr>
          </a:p>
        </p:txBody>
      </p:sp>
      <p:sp>
        <p:nvSpPr>
          <p:cNvPr id="20" name="Rectangle 19">
            <a:extLst>
              <a:ext uri="{FF2B5EF4-FFF2-40B4-BE49-F238E27FC236}">
                <a16:creationId xmlns:a16="http://schemas.microsoft.com/office/drawing/2014/main" id="{957D99E3-4D69-F302-1188-0F6440477A6C}"/>
              </a:ext>
            </a:extLst>
          </p:cNvPr>
          <p:cNvSpPr/>
          <p:nvPr/>
        </p:nvSpPr>
        <p:spPr>
          <a:xfrm>
            <a:off x="2850776" y="1865193"/>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a:solidFill>
                  <a:schemeClr val="tx1"/>
                </a:solidFill>
              </a:rPr>
              <a:t>Going Concern (+25) | Auditor doubts entity can continue operating.</a:t>
            </a:r>
            <a:endParaRPr lang="en-US">
              <a:solidFill>
                <a:schemeClr val="tx1"/>
              </a:solidFill>
            </a:endParaRPr>
          </a:p>
          <a:p>
            <a:pPr marL="171450" indent="-171450">
              <a:spcBef>
                <a:spcPts val="300"/>
              </a:spcBef>
              <a:spcAft>
                <a:spcPts val="300"/>
              </a:spcAft>
              <a:buFont typeface="Arial" panose="020B0604020202020204" pitchFamily="34" charset="0"/>
              <a:buChar char="•"/>
            </a:pPr>
            <a:r>
              <a:rPr lang="en-US" sz="1200">
                <a:solidFill>
                  <a:schemeClr val="tx1"/>
                </a:solidFill>
              </a:rPr>
              <a:t>Material Weakness (+20) | Severe internal control failure.</a:t>
            </a:r>
          </a:p>
          <a:p>
            <a:pPr marL="171450" indent="-171450">
              <a:spcBef>
                <a:spcPts val="300"/>
              </a:spcBef>
              <a:spcAft>
                <a:spcPts val="300"/>
              </a:spcAft>
              <a:buFont typeface="Arial" panose="020B0604020202020204" pitchFamily="34" charset="0"/>
              <a:buChar char="•"/>
            </a:pPr>
            <a:r>
              <a:rPr lang="en-US" sz="1200">
                <a:solidFill>
                  <a:schemeClr val="tx1"/>
                </a:solidFill>
              </a:rPr>
              <a:t>Repeat Findings (+15) | Same problem year after year, the entity isn't improving.</a:t>
            </a:r>
          </a:p>
          <a:p>
            <a:pPr marL="171450" indent="-171450">
              <a:spcBef>
                <a:spcPts val="300"/>
              </a:spcBef>
              <a:spcAft>
                <a:spcPts val="300"/>
              </a:spcAft>
              <a:buFont typeface="Arial" panose="020B0604020202020204" pitchFamily="34" charset="0"/>
              <a:buChar char="•"/>
            </a:pPr>
            <a:r>
              <a:rPr lang="en-US" sz="1200">
                <a:solidFill>
                  <a:schemeClr val="tx1"/>
                </a:solidFill>
              </a:rPr>
              <a:t>Questioned Costs (+15) | Taxpayer dollars flagged as being used improperly.</a:t>
            </a:r>
          </a:p>
          <a:p>
            <a:pPr marL="171450" indent="-171450">
              <a:spcBef>
                <a:spcPts val="300"/>
              </a:spcBef>
              <a:spcAft>
                <a:spcPts val="300"/>
              </a:spcAft>
              <a:buFont typeface="Arial" panose="020B0604020202020204" pitchFamily="34" charset="0"/>
              <a:buChar char="•"/>
            </a:pPr>
            <a:r>
              <a:rPr lang="en-US" sz="1200">
                <a:solidFill>
                  <a:schemeClr val="tx1"/>
                </a:solidFill>
              </a:rPr>
              <a:t>11 total risk factors weighted by severity (see appendix)</a:t>
            </a:r>
          </a:p>
        </p:txBody>
      </p:sp>
      <p:sp>
        <p:nvSpPr>
          <p:cNvPr id="24" name="Rectangle 23">
            <a:extLst>
              <a:ext uri="{FF2B5EF4-FFF2-40B4-BE49-F238E27FC236}">
                <a16:creationId xmlns:a16="http://schemas.microsoft.com/office/drawing/2014/main" id="{88D285BE-F4B7-A869-E918-FEE240A09A6C}"/>
              </a:ext>
            </a:extLst>
          </p:cNvPr>
          <p:cNvSpPr/>
          <p:nvPr/>
        </p:nvSpPr>
        <p:spPr>
          <a:xfrm>
            <a:off x="2850776" y="3320680"/>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a:solidFill>
                  <a:schemeClr val="tx1"/>
                </a:solidFill>
              </a:rPr>
              <a:t>Low Risk Auditee (-15) | Clean audit history, proven track record.</a:t>
            </a:r>
          </a:p>
          <a:p>
            <a:pPr marL="171450" indent="-171450">
              <a:spcBef>
                <a:spcPts val="300"/>
              </a:spcBef>
              <a:spcAft>
                <a:spcPts val="300"/>
              </a:spcAft>
              <a:buFont typeface="Arial" panose="020B0604020202020204" pitchFamily="34" charset="0"/>
              <a:buChar char="•"/>
            </a:pPr>
            <a:r>
              <a:rPr lang="en-US" sz="1200">
                <a:solidFill>
                  <a:schemeClr val="tx1"/>
                </a:solidFill>
              </a:rPr>
              <a:t>Corrective Action Plan (-5) | Entity responded to findings with an action plan.</a:t>
            </a:r>
          </a:p>
        </p:txBody>
      </p:sp>
      <p:sp>
        <p:nvSpPr>
          <p:cNvPr id="25" name="Rectangle 24">
            <a:extLst>
              <a:ext uri="{FF2B5EF4-FFF2-40B4-BE49-F238E27FC236}">
                <a16:creationId xmlns:a16="http://schemas.microsoft.com/office/drawing/2014/main" id="{F94B16A3-F9A7-EA8B-7702-FCA5C6C35ADB}"/>
              </a:ext>
            </a:extLst>
          </p:cNvPr>
          <p:cNvSpPr/>
          <p:nvPr/>
        </p:nvSpPr>
        <p:spPr>
          <a:xfrm>
            <a:off x="2850776" y="4776167"/>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tx1"/>
                </a:solidFill>
                <a:ea typeface="+mn-lt"/>
                <a:cs typeface="+mn-lt"/>
              </a:rPr>
              <a:t>🔴 High Risk (0-59). Multiple audit failures</a:t>
            </a:r>
            <a:endParaRPr lang="en-US">
              <a:solidFill>
                <a:schemeClr val="tx1"/>
              </a:solidFill>
            </a:endParaRPr>
          </a:p>
          <a:p>
            <a:pPr>
              <a:spcBef>
                <a:spcPts val="300"/>
              </a:spcBef>
              <a:spcAft>
                <a:spcPts val="300"/>
              </a:spcAft>
            </a:pPr>
            <a:r>
              <a:rPr lang="en-US" sz="1200">
                <a:solidFill>
                  <a:schemeClr val="tx1"/>
                </a:solidFill>
                <a:ea typeface="+mn-lt"/>
                <a:cs typeface="+mn-lt"/>
              </a:rPr>
              <a:t>🟡 Moderate Risk (60-79). Some concerns identified </a:t>
            </a:r>
            <a:endParaRPr lang="en-US">
              <a:solidFill>
                <a:schemeClr val="tx1"/>
              </a:solidFill>
            </a:endParaRPr>
          </a:p>
          <a:p>
            <a:pPr>
              <a:spcBef>
                <a:spcPts val="300"/>
              </a:spcBef>
              <a:spcAft>
                <a:spcPts val="300"/>
              </a:spcAft>
            </a:pPr>
            <a:r>
              <a:rPr lang="en-US" sz="1200">
                <a:solidFill>
                  <a:srgbClr val="383A42"/>
                </a:solidFill>
                <a:latin typeface="Consolas"/>
              </a:rPr>
              <a:t>🟢 </a:t>
            </a:r>
            <a:r>
              <a:rPr lang="en-US" sz="1200">
                <a:solidFill>
                  <a:schemeClr val="tx1"/>
                </a:solidFill>
                <a:latin typeface="Aptos"/>
              </a:rPr>
              <a:t>Low</a:t>
            </a:r>
            <a:r>
              <a:rPr lang="en-US" sz="1200">
                <a:solidFill>
                  <a:schemeClr val="tx1"/>
                </a:solidFill>
                <a:ea typeface="+mn-lt"/>
                <a:cs typeface="+mn-lt"/>
              </a:rPr>
              <a:t> Risk (80-100). Minimal findings, trusted</a:t>
            </a:r>
          </a:p>
          <a:p>
            <a:pPr marL="171450" indent="-171450">
              <a:spcBef>
                <a:spcPts val="300"/>
              </a:spcBef>
              <a:spcAft>
                <a:spcPts val="300"/>
              </a:spcAft>
              <a:buFont typeface="Arial" panose="020B0604020202020204" pitchFamily="34" charset="0"/>
              <a:buChar char="•"/>
            </a:pPr>
            <a:endParaRPr lang="en-US" sz="1200">
              <a:solidFill>
                <a:schemeClr val="tx1"/>
              </a:solidFill>
            </a:endParaRP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554736" y="4700084"/>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554736" y="3244597"/>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31967DD4-5A6B-B1E0-CA40-A08F44BB37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FY2016-2024) merged with USAspending.gov (FY2019-2024)</a:t>
            </a:r>
            <a:endParaRPr lang="en-US"/>
          </a:p>
        </p:txBody>
      </p:sp>
      <p:sp>
        <p:nvSpPr>
          <p:cNvPr id="7" name="Google Shape;538;p14">
            <a:extLst>
              <a:ext uri="{FF2B5EF4-FFF2-40B4-BE49-F238E27FC236}">
                <a16:creationId xmlns:a16="http://schemas.microsoft.com/office/drawing/2014/main" id="{98E4A34B-109E-A8F2-E22E-0A190A7E39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Rectangle 13">
            <a:extLst>
              <a:ext uri="{FF2B5EF4-FFF2-40B4-BE49-F238E27FC236}">
                <a16:creationId xmlns:a16="http://schemas.microsoft.com/office/drawing/2014/main" id="{63C5D0A5-87D0-E9B9-A11C-50EDCA14E83B}"/>
              </a:ext>
            </a:extLst>
          </p:cNvPr>
          <p:cNvSpPr/>
          <p:nvPr/>
        </p:nvSpPr>
        <p:spPr>
          <a:xfrm>
            <a:off x="8972455" y="779438"/>
            <a:ext cx="2500573" cy="810021"/>
          </a:xfrm>
          <a:prstGeom prst="roundRect">
            <a:avLst/>
          </a:prstGeom>
          <a:solidFill>
            <a:schemeClr val="tx2">
              <a:lumMod val="25000"/>
              <a:lumOff val="75000"/>
            </a:schemeClr>
          </a:solidFill>
          <a:ln>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4">
            <a:extLst>
              <a:ext uri="{FF2B5EF4-FFF2-40B4-BE49-F238E27FC236}">
                <a16:creationId xmlns:a16="http://schemas.microsoft.com/office/drawing/2014/main" id="{567EFBF7-1CCD-DF6A-6C32-1B050A4D5E12}"/>
              </a:ext>
            </a:extLst>
          </p:cNvPr>
          <p:cNvSpPr txBox="1"/>
          <p:nvPr/>
        </p:nvSpPr>
        <p:spPr>
          <a:xfrm>
            <a:off x="651415" y="910499"/>
            <a:ext cx="764609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Turning complex audit data into a simple 0-100 score. Making federal accountability accessible to everyone.</a:t>
            </a:r>
            <a:endParaRPr lang="en-US">
              <a:ea typeface="+mn-lt"/>
              <a:cs typeface="+mn-lt"/>
            </a:endParaRPr>
          </a:p>
        </p:txBody>
      </p:sp>
      <p:sp>
        <p:nvSpPr>
          <p:cNvPr id="4" name="Rectangle: Rounded Corners 3">
            <a:extLst>
              <a:ext uri="{FF2B5EF4-FFF2-40B4-BE49-F238E27FC236}">
                <a16:creationId xmlns:a16="http://schemas.microsoft.com/office/drawing/2014/main" id="{956DA610-1190-4180-74B8-AE3E7ECB4216}"/>
              </a:ext>
            </a:extLst>
          </p:cNvPr>
          <p:cNvSpPr/>
          <p:nvPr/>
        </p:nvSpPr>
        <p:spPr>
          <a:xfrm>
            <a:off x="8870169" y="4863497"/>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oogle Shape;934;p251">
            <a:extLst>
              <a:ext uri="{FF2B5EF4-FFF2-40B4-BE49-F238E27FC236}">
                <a16:creationId xmlns:a16="http://schemas.microsoft.com/office/drawing/2014/main" id="{77FF677C-1D53-181E-212E-2127FE888C4B}"/>
              </a:ext>
            </a:extLst>
          </p:cNvPr>
          <p:cNvSpPr/>
          <p:nvPr/>
        </p:nvSpPr>
        <p:spPr>
          <a:xfrm>
            <a:off x="8939722" y="5112256"/>
            <a:ext cx="2397378" cy="1364971"/>
          </a:xfrm>
          <a:prstGeom prst="rect">
            <a:avLst/>
          </a:prstGeom>
          <a:noFill/>
          <a:ln>
            <a:noFill/>
          </a:ln>
        </p:spPr>
        <p:txBody>
          <a:bodyPr spcFirstLastPara="1" wrap="square" lIns="91433" tIns="45700" rIns="91433" bIns="45700" anchor="ctr" anchorCtr="0">
            <a:noAutofit/>
          </a:bodyPr>
          <a:lstStyle/>
          <a:p>
            <a:pPr algn="ctr"/>
            <a:r>
              <a:rPr lang="en-US" sz="2200">
                <a:solidFill>
                  <a:schemeClr val="bg1"/>
                </a:solidFill>
                <a:ea typeface="+mn-lt"/>
                <a:cs typeface="+mn-lt"/>
              </a:rPr>
              <a:t>Now let's apply this score to </a:t>
            </a:r>
            <a:br>
              <a:rPr lang="en-US" sz="2200">
                <a:solidFill>
                  <a:schemeClr val="bg1"/>
                </a:solidFill>
                <a:ea typeface="+mn-lt"/>
                <a:cs typeface="+mn-lt"/>
              </a:rPr>
            </a:br>
            <a:r>
              <a:rPr lang="en-US" sz="2200">
                <a:solidFill>
                  <a:schemeClr val="bg1">
                    <a:lumMod val="95000"/>
                  </a:schemeClr>
                </a:solidFill>
                <a:ea typeface="+mn-lt"/>
                <a:cs typeface="+mn-lt"/>
              </a:rPr>
              <a:t>real federal funding data.</a:t>
            </a:r>
            <a:endParaRPr lang="en-US">
              <a:solidFill>
                <a:schemeClr val="bg1">
                  <a:lumMod val="95000"/>
                </a:schemeClr>
              </a:solidFill>
            </a:endParaRPr>
          </a:p>
        </p:txBody>
      </p:sp>
      <p:sp>
        <p:nvSpPr>
          <p:cNvPr id="19" name="Subtitle 4">
            <a:extLst>
              <a:ext uri="{FF2B5EF4-FFF2-40B4-BE49-F238E27FC236}">
                <a16:creationId xmlns:a16="http://schemas.microsoft.com/office/drawing/2014/main" id="{120FF14F-9A98-DE3F-F70F-8CE2076F9A12}"/>
              </a:ext>
            </a:extLst>
          </p:cNvPr>
          <p:cNvSpPr txBox="1">
            <a:spLocks/>
          </p:cNvSpPr>
          <p:nvPr/>
        </p:nvSpPr>
        <p:spPr>
          <a:xfrm>
            <a:off x="8969077" y="918084"/>
            <a:ext cx="2505795" cy="531000"/>
          </a:xfrm>
          <a:prstGeom prst="rect">
            <a:avLst/>
          </a:prstGeom>
        </p:spPr>
        <p:txBody>
          <a:bodyPr vert="horz" wrap="square"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a:latin typeface="Arial"/>
                <a:cs typeface="Arial"/>
              </a:rPr>
              <a:t>Score = 100 - Risk Points (capped 0-100)</a:t>
            </a:r>
          </a:p>
          <a:p>
            <a:pPr algn="ctr"/>
            <a:endParaRPr lang="en-US"/>
          </a:p>
        </p:txBody>
      </p:sp>
    </p:spTree>
    <p:extLst>
      <p:ext uri="{BB962C8B-B14F-4D97-AF65-F5344CB8AC3E}">
        <p14:creationId xmlns:p14="http://schemas.microsoft.com/office/powerpoint/2010/main" val="10690766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93EC2-20DE-E4D1-4F29-AE7C65DC17CA}"/>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C5B741A2-0B0B-B0EF-46D4-9A147570FA41}"/>
              </a:ext>
            </a:extLst>
          </p:cNvPr>
          <p:cNvSpPr/>
          <p:nvPr/>
        </p:nvSpPr>
        <p:spPr>
          <a:xfrm>
            <a:off x="5716588" y="1349456"/>
            <a:ext cx="1371374" cy="4230974"/>
          </a:xfrm>
          <a:prstGeom prst="round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Title 1">
            <a:extLst>
              <a:ext uri="{FF2B5EF4-FFF2-40B4-BE49-F238E27FC236}">
                <a16:creationId xmlns:a16="http://schemas.microsoft.com/office/drawing/2014/main" id="{31B910DE-CA08-239F-5504-AC212E73B52C}"/>
              </a:ext>
            </a:extLst>
          </p:cNvPr>
          <p:cNvSpPr>
            <a:spLocks noGrp="1"/>
          </p:cNvSpPr>
          <p:nvPr>
            <p:ph type="title"/>
          </p:nvPr>
        </p:nvSpPr>
        <p:spPr>
          <a:xfrm>
            <a:off x="554736" y="109851"/>
            <a:ext cx="10329286" cy="801858"/>
          </a:xfrm>
        </p:spPr>
        <p:txBody>
          <a:bodyPr>
            <a:normAutofit/>
          </a:bodyPr>
          <a:lstStyle/>
          <a:p>
            <a:r>
              <a:rPr lang="en-GB">
                <a:highlight>
                  <a:srgbClr val="FFFFFF"/>
                </a:highlight>
                <a:latin typeface="Arial"/>
                <a:cs typeface="Arial"/>
              </a:rPr>
              <a:t>The Science Behind the Score</a:t>
            </a:r>
          </a:p>
        </p:txBody>
      </p:sp>
      <p:sp>
        <p:nvSpPr>
          <p:cNvPr id="14" name="Rectangle 13">
            <a:extLst>
              <a:ext uri="{FF2B5EF4-FFF2-40B4-BE49-F238E27FC236}">
                <a16:creationId xmlns:a16="http://schemas.microsoft.com/office/drawing/2014/main" id="{10FB3B95-D917-DE30-B542-F6DFBB9C31E0}"/>
              </a:ext>
            </a:extLst>
          </p:cNvPr>
          <p:cNvSpPr/>
          <p:nvPr/>
        </p:nvSpPr>
        <p:spPr>
          <a:xfrm>
            <a:off x="8972455" y="779438"/>
            <a:ext cx="2500573" cy="810021"/>
          </a:xfrm>
          <a:prstGeom prst="roundRect">
            <a:avLst/>
          </a:prstGeom>
          <a:solidFill>
            <a:schemeClr val="tx2">
              <a:lumMod val="25000"/>
              <a:lumOff val="75000"/>
            </a:schemeClr>
          </a:solidFill>
          <a:ln>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a:extLst>
              <a:ext uri="{FF2B5EF4-FFF2-40B4-BE49-F238E27FC236}">
                <a16:creationId xmlns:a16="http://schemas.microsoft.com/office/drawing/2014/main" id="{CF629020-9569-A5E1-A359-DF710670AE83}"/>
              </a:ext>
            </a:extLst>
          </p:cNvPr>
          <p:cNvSpPr>
            <a:spLocks noGrp="1"/>
          </p:cNvSpPr>
          <p:nvPr>
            <p:ph type="subTitle" idx="1"/>
          </p:nvPr>
        </p:nvSpPr>
        <p:spPr>
          <a:xfrm>
            <a:off x="8969077" y="918084"/>
            <a:ext cx="2505795" cy="531000"/>
          </a:xfrm>
        </p:spPr>
        <p:txBody>
          <a:bodyPr vert="horz" wrap="square" lIns="91440" tIns="45720" rIns="91440" bIns="45720" rtlCol="0" anchor="t">
            <a:noAutofit/>
          </a:bodyPr>
          <a:lstStyle/>
          <a:p>
            <a:pPr algn="ctr"/>
            <a:r>
              <a:rPr lang="en-US">
                <a:latin typeface="Arial"/>
                <a:cs typeface="Arial"/>
              </a:rPr>
              <a:t>Score = 100 - Risk Points (capped 0-100)</a:t>
            </a:r>
          </a:p>
          <a:p>
            <a:pPr algn="ctr"/>
            <a:endParaRPr lang="en-US"/>
          </a:p>
        </p:txBody>
      </p:sp>
      <p:sp>
        <p:nvSpPr>
          <p:cNvPr id="2" name="Google Shape;507;p14">
            <a:extLst>
              <a:ext uri="{FF2B5EF4-FFF2-40B4-BE49-F238E27FC236}">
                <a16:creationId xmlns:a16="http://schemas.microsoft.com/office/drawing/2014/main" id="{B3028877-013B-3F7A-FCFC-40432FCD2E4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AU-C 265 | AU-C 570 | 2 CFR 200 Subpart F (§200.511, §200.516, §200.520) | Random Forest Model</a:t>
            </a:r>
            <a:endParaRPr lang="en-US">
              <a:ea typeface="+mn-lt"/>
              <a:cs typeface="+mn-lt"/>
            </a:endParaRPr>
          </a:p>
        </p:txBody>
      </p:sp>
      <p:sp>
        <p:nvSpPr>
          <p:cNvPr id="7" name="Google Shape;538;p14">
            <a:extLst>
              <a:ext uri="{FF2B5EF4-FFF2-40B4-BE49-F238E27FC236}">
                <a16:creationId xmlns:a16="http://schemas.microsoft.com/office/drawing/2014/main" id="{95CF9895-E248-FD50-7470-5DAB13D9A0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TextBox 4">
            <a:extLst>
              <a:ext uri="{FF2B5EF4-FFF2-40B4-BE49-F238E27FC236}">
                <a16:creationId xmlns:a16="http://schemas.microsoft.com/office/drawing/2014/main" id="{F2E350C7-578D-83D9-C8CA-7A010AF7A1E8}"/>
              </a:ext>
            </a:extLst>
          </p:cNvPr>
          <p:cNvSpPr txBox="1"/>
          <p:nvPr/>
        </p:nvSpPr>
        <p:spPr>
          <a:xfrm>
            <a:off x="651415" y="916744"/>
            <a:ext cx="8876538"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Federal audit standards define severity. Our model proves they predict risk.</a:t>
            </a:r>
            <a:endParaRPr lang="en-US">
              <a:ea typeface="+mn-lt"/>
              <a:cs typeface="+mn-lt"/>
            </a:endParaRPr>
          </a:p>
        </p:txBody>
      </p:sp>
      <p:sp>
        <p:nvSpPr>
          <p:cNvPr id="4" name="Rectangle: Rounded Corners 3">
            <a:extLst>
              <a:ext uri="{FF2B5EF4-FFF2-40B4-BE49-F238E27FC236}">
                <a16:creationId xmlns:a16="http://schemas.microsoft.com/office/drawing/2014/main" id="{EFEEF181-662F-2841-1417-CB706F4B6096}"/>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oogle Shape;934;p251">
            <a:extLst>
              <a:ext uri="{FF2B5EF4-FFF2-40B4-BE49-F238E27FC236}">
                <a16:creationId xmlns:a16="http://schemas.microsoft.com/office/drawing/2014/main" id="{429875B3-6A8C-6A79-9657-DDEAD75AAF92}"/>
              </a:ext>
            </a:extLst>
          </p:cNvPr>
          <p:cNvSpPr/>
          <p:nvPr/>
        </p:nvSpPr>
        <p:spPr>
          <a:xfrm>
            <a:off x="8870451" y="5073559"/>
            <a:ext cx="2704168" cy="1402235"/>
          </a:xfrm>
          <a:prstGeom prst="rect">
            <a:avLst/>
          </a:prstGeom>
          <a:noFill/>
          <a:ln>
            <a:noFill/>
          </a:ln>
        </p:spPr>
        <p:txBody>
          <a:bodyPr spcFirstLastPara="1" wrap="square" lIns="91433" tIns="45700" rIns="91433" bIns="45700" anchor="ctr" anchorCtr="0">
            <a:noAutofit/>
          </a:bodyPr>
          <a:lstStyle/>
          <a:p>
            <a:r>
              <a:rPr lang="en-US" sz="2000">
                <a:solidFill>
                  <a:schemeClr val="bg1"/>
                </a:solidFill>
                <a:ea typeface="+mn-lt"/>
                <a:cs typeface="+mn-lt"/>
              </a:rPr>
              <a:t>Risk Tiers</a:t>
            </a:r>
            <a:br>
              <a:rPr lang="en-US" sz="2000">
                <a:solidFill>
                  <a:schemeClr val="bg1"/>
                </a:solidFill>
                <a:ea typeface="+mn-lt"/>
                <a:cs typeface="+mn-lt"/>
              </a:rPr>
            </a:br>
            <a:r>
              <a:rPr lang="en-US">
                <a:ea typeface="+mn-lt"/>
                <a:cs typeface="+mn-lt"/>
              </a:rPr>
              <a:t>🟢</a:t>
            </a:r>
            <a:r>
              <a:rPr lang="en-US">
                <a:solidFill>
                  <a:srgbClr val="000000"/>
                </a:solidFill>
              </a:rPr>
              <a:t> </a:t>
            </a:r>
            <a:r>
              <a:rPr lang="en-US">
                <a:solidFill>
                  <a:schemeClr val="bg1"/>
                </a:solidFill>
              </a:rPr>
              <a:t>80-100 Low Risk</a:t>
            </a:r>
            <a:br>
              <a:rPr lang="en-US">
                <a:ea typeface="+mn-lt"/>
                <a:cs typeface="+mn-lt"/>
              </a:rPr>
            </a:br>
            <a:r>
              <a:rPr lang="en-US">
                <a:ea typeface="+mn-lt"/>
                <a:cs typeface="+mn-lt"/>
              </a:rPr>
              <a:t>🟡</a:t>
            </a:r>
            <a:r>
              <a:rPr lang="en-US">
                <a:solidFill>
                  <a:srgbClr val="000000"/>
                </a:solidFill>
              </a:rPr>
              <a:t> </a:t>
            </a:r>
            <a:r>
              <a:rPr lang="en-US">
                <a:solidFill>
                  <a:schemeClr val="bg1"/>
                </a:solidFill>
              </a:rPr>
              <a:t>60-79 Moderate Risk</a:t>
            </a:r>
            <a:br>
              <a:rPr lang="en-US">
                <a:ea typeface="+mn-lt"/>
                <a:cs typeface="+mn-lt"/>
              </a:rPr>
            </a:br>
            <a:r>
              <a:rPr lang="en-US">
                <a:ea typeface="+mn-lt"/>
                <a:cs typeface="+mn-lt"/>
              </a:rPr>
              <a:t>🔴</a:t>
            </a:r>
            <a:r>
              <a:rPr lang="en-US">
                <a:solidFill>
                  <a:srgbClr val="000000"/>
                </a:solidFill>
              </a:rPr>
              <a:t> </a:t>
            </a:r>
            <a:r>
              <a:rPr lang="en-US">
                <a:solidFill>
                  <a:schemeClr val="bg1"/>
                </a:solidFill>
              </a:rPr>
              <a:t>0-59 High Risk</a:t>
            </a:r>
          </a:p>
        </p:txBody>
      </p:sp>
      <p:pic>
        <p:nvPicPr>
          <p:cNvPr id="6" name="Picture 5" descr="A chart with text on it">
            <a:extLst>
              <a:ext uri="{FF2B5EF4-FFF2-40B4-BE49-F238E27FC236}">
                <a16:creationId xmlns:a16="http://schemas.microsoft.com/office/drawing/2014/main" id="{AEEA97CA-7405-A436-D706-4E95FE1EF38D}"/>
              </a:ext>
            </a:extLst>
          </p:cNvPr>
          <p:cNvPicPr>
            <a:picLocks noChangeAspect="1"/>
          </p:cNvPicPr>
          <p:nvPr/>
        </p:nvPicPr>
        <p:blipFill>
          <a:blip r:embed="rId3"/>
          <a:stretch>
            <a:fillRect/>
          </a:stretch>
        </p:blipFill>
        <p:spPr>
          <a:xfrm>
            <a:off x="551793" y="1798942"/>
            <a:ext cx="6542691" cy="2553252"/>
          </a:xfrm>
          <a:prstGeom prst="rect">
            <a:avLst/>
          </a:prstGeom>
        </p:spPr>
      </p:pic>
      <p:sp>
        <p:nvSpPr>
          <p:cNvPr id="9" name="Rectangle 2">
            <a:extLst>
              <a:ext uri="{FF2B5EF4-FFF2-40B4-BE49-F238E27FC236}">
                <a16:creationId xmlns:a16="http://schemas.microsoft.com/office/drawing/2014/main" id="{7F4DB9AE-171B-1701-9CAA-DE2FF94E8775}"/>
              </a:ext>
            </a:extLst>
          </p:cNvPr>
          <p:cNvSpPr/>
          <p:nvPr/>
        </p:nvSpPr>
        <p:spPr>
          <a:xfrm>
            <a:off x="3663485" y="5806521"/>
            <a:ext cx="4865846" cy="609327"/>
          </a:xfrm>
          <a:prstGeom prst="round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US" sz="1400" b="1">
                <a:solidFill>
                  <a:schemeClr val="bg1"/>
                </a:solidFill>
                <a:ea typeface="+mn-lt"/>
                <a:cs typeface="+mn-lt"/>
              </a:rPr>
              <a:t>Built on Law, Proven by Math: A Transparent Standard for Federal Risk.</a:t>
            </a:r>
            <a:endParaRPr lang="en-US" b="1">
              <a:solidFill>
                <a:schemeClr val="bg1"/>
              </a:solidFill>
            </a:endParaRPr>
          </a:p>
        </p:txBody>
      </p:sp>
      <p:pic>
        <p:nvPicPr>
          <p:cNvPr id="16" name="Picture 15" descr="A white circles with black text">
            <a:extLst>
              <a:ext uri="{FF2B5EF4-FFF2-40B4-BE49-F238E27FC236}">
                <a16:creationId xmlns:a16="http://schemas.microsoft.com/office/drawing/2014/main" id="{EE085BD1-6BCF-8FEC-8729-A199A89C99AB}"/>
              </a:ext>
            </a:extLst>
          </p:cNvPr>
          <p:cNvPicPr>
            <a:picLocks noChangeAspect="1"/>
          </p:cNvPicPr>
          <p:nvPr/>
        </p:nvPicPr>
        <p:blipFill>
          <a:blip r:embed="rId4"/>
          <a:srcRect l="61" t="-124" r="55092" b="-463"/>
          <a:stretch>
            <a:fillRect/>
          </a:stretch>
        </p:blipFill>
        <p:spPr>
          <a:xfrm>
            <a:off x="551793" y="4400745"/>
            <a:ext cx="3203629" cy="1508188"/>
          </a:xfrm>
          <a:prstGeom prst="rect">
            <a:avLst/>
          </a:prstGeom>
        </p:spPr>
      </p:pic>
      <p:sp>
        <p:nvSpPr>
          <p:cNvPr id="15" name="Rectangle: Rounded Corners 14">
            <a:extLst>
              <a:ext uri="{FF2B5EF4-FFF2-40B4-BE49-F238E27FC236}">
                <a16:creationId xmlns:a16="http://schemas.microsoft.com/office/drawing/2014/main" id="{18A4D76A-ED80-0010-B71A-78EADED2F9F3}"/>
              </a:ext>
            </a:extLst>
          </p:cNvPr>
          <p:cNvSpPr/>
          <p:nvPr/>
        </p:nvSpPr>
        <p:spPr>
          <a:xfrm>
            <a:off x="5727720" y="1800408"/>
            <a:ext cx="1370011" cy="30093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AU-C 570</a:t>
            </a:r>
            <a:endParaRPr lang="en-US"/>
          </a:p>
        </p:txBody>
      </p:sp>
      <p:sp>
        <p:nvSpPr>
          <p:cNvPr id="26" name="Rectangle: Rounded Corners 25">
            <a:extLst>
              <a:ext uri="{FF2B5EF4-FFF2-40B4-BE49-F238E27FC236}">
                <a16:creationId xmlns:a16="http://schemas.microsoft.com/office/drawing/2014/main" id="{ECC05F92-0E30-49B0-5647-1E3D0D813FAD}"/>
              </a:ext>
            </a:extLst>
          </p:cNvPr>
          <p:cNvSpPr/>
          <p:nvPr/>
        </p:nvSpPr>
        <p:spPr>
          <a:xfrm>
            <a:off x="5721473" y="2275096"/>
            <a:ext cx="1376257" cy="30093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AU-C 265</a:t>
            </a:r>
            <a:endParaRPr lang="en-US" sz="1400"/>
          </a:p>
        </p:txBody>
      </p:sp>
      <p:sp>
        <p:nvSpPr>
          <p:cNvPr id="27" name="Rectangle: Rounded Corners 26">
            <a:extLst>
              <a:ext uri="{FF2B5EF4-FFF2-40B4-BE49-F238E27FC236}">
                <a16:creationId xmlns:a16="http://schemas.microsoft.com/office/drawing/2014/main" id="{D02CD3C1-8762-B700-38FB-9C7D8D8968D3}"/>
              </a:ext>
            </a:extLst>
          </p:cNvPr>
          <p:cNvSpPr/>
          <p:nvPr/>
        </p:nvSpPr>
        <p:spPr>
          <a:xfrm>
            <a:off x="5721474" y="2737292"/>
            <a:ext cx="1376257" cy="26346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2 CFR 200.516</a:t>
            </a:r>
          </a:p>
        </p:txBody>
      </p:sp>
      <p:sp>
        <p:nvSpPr>
          <p:cNvPr id="3" name="Rectangle: Rounded Corners 2">
            <a:extLst>
              <a:ext uri="{FF2B5EF4-FFF2-40B4-BE49-F238E27FC236}">
                <a16:creationId xmlns:a16="http://schemas.microsoft.com/office/drawing/2014/main" id="{7A1AFB3C-C1BD-F2B1-C20E-1F4521921958}"/>
              </a:ext>
            </a:extLst>
          </p:cNvPr>
          <p:cNvSpPr/>
          <p:nvPr/>
        </p:nvSpPr>
        <p:spPr>
          <a:xfrm>
            <a:off x="5727717" y="3130784"/>
            <a:ext cx="1370012" cy="30093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AU-C 265</a:t>
            </a:r>
            <a:endParaRPr lang="en-US" sz="1400"/>
          </a:p>
        </p:txBody>
      </p:sp>
      <p:sp>
        <p:nvSpPr>
          <p:cNvPr id="10" name="Rectangle: Rounded Corners 9">
            <a:extLst>
              <a:ext uri="{FF2B5EF4-FFF2-40B4-BE49-F238E27FC236}">
                <a16:creationId xmlns:a16="http://schemas.microsoft.com/office/drawing/2014/main" id="{13807FE8-6CD8-BFD1-5079-432576C516A6}"/>
              </a:ext>
            </a:extLst>
          </p:cNvPr>
          <p:cNvSpPr/>
          <p:nvPr/>
        </p:nvSpPr>
        <p:spPr>
          <a:xfrm>
            <a:off x="5721473" y="3580488"/>
            <a:ext cx="1376257" cy="26346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2 CFR 200.516</a:t>
            </a:r>
          </a:p>
        </p:txBody>
      </p:sp>
      <p:sp>
        <p:nvSpPr>
          <p:cNvPr id="17" name="Rectangle: Rounded Corners 16">
            <a:extLst>
              <a:ext uri="{FF2B5EF4-FFF2-40B4-BE49-F238E27FC236}">
                <a16:creationId xmlns:a16="http://schemas.microsoft.com/office/drawing/2014/main" id="{A43DC206-1887-30E7-BE1B-651B8E110F74}"/>
              </a:ext>
            </a:extLst>
          </p:cNvPr>
          <p:cNvSpPr/>
          <p:nvPr/>
        </p:nvSpPr>
        <p:spPr>
          <a:xfrm>
            <a:off x="5721472" y="3978181"/>
            <a:ext cx="1369330" cy="42176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2 CFR 200 Subpart F</a:t>
            </a:r>
          </a:p>
        </p:txBody>
      </p:sp>
      <p:sp>
        <p:nvSpPr>
          <p:cNvPr id="18" name="Rectangle: Rounded Corners 17">
            <a:extLst>
              <a:ext uri="{FF2B5EF4-FFF2-40B4-BE49-F238E27FC236}">
                <a16:creationId xmlns:a16="http://schemas.microsoft.com/office/drawing/2014/main" id="{AE5D41E4-80D3-0A3E-6386-6413A8411506}"/>
              </a:ext>
            </a:extLst>
          </p:cNvPr>
          <p:cNvSpPr/>
          <p:nvPr/>
        </p:nvSpPr>
        <p:spPr>
          <a:xfrm>
            <a:off x="5727719" y="1350703"/>
            <a:ext cx="1370011" cy="307184"/>
          </a:xfrm>
          <a:prstGeom prst="roundRect">
            <a:avLst/>
          </a:prstGeom>
          <a:solidFill>
            <a:schemeClr val="tx1">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Legal Citation</a:t>
            </a:r>
          </a:p>
        </p:txBody>
      </p:sp>
      <p:sp>
        <p:nvSpPr>
          <p:cNvPr id="19" name="Rectangle: Rounded Corners 18">
            <a:extLst>
              <a:ext uri="{FF2B5EF4-FFF2-40B4-BE49-F238E27FC236}">
                <a16:creationId xmlns:a16="http://schemas.microsoft.com/office/drawing/2014/main" id="{A188C192-6ECB-4007-6E71-97014CCE3E10}"/>
              </a:ext>
            </a:extLst>
          </p:cNvPr>
          <p:cNvSpPr/>
          <p:nvPr/>
        </p:nvSpPr>
        <p:spPr>
          <a:xfrm>
            <a:off x="5713865" y="5153208"/>
            <a:ext cx="1370011" cy="42562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2 CFR 200.511(c)</a:t>
            </a:r>
          </a:p>
        </p:txBody>
      </p:sp>
      <p:sp>
        <p:nvSpPr>
          <p:cNvPr id="20" name="Rectangle: Rounded Corners 19">
            <a:extLst>
              <a:ext uri="{FF2B5EF4-FFF2-40B4-BE49-F238E27FC236}">
                <a16:creationId xmlns:a16="http://schemas.microsoft.com/office/drawing/2014/main" id="{ED5202CF-4F26-418D-7E9E-3DBAC6A30564}"/>
              </a:ext>
            </a:extLst>
          </p:cNvPr>
          <p:cNvSpPr/>
          <p:nvPr/>
        </p:nvSpPr>
        <p:spPr>
          <a:xfrm>
            <a:off x="5713866" y="4550535"/>
            <a:ext cx="1376938" cy="30093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bg1"/>
                </a:solidFill>
              </a:rPr>
              <a:t>2 CFR 200.520</a:t>
            </a:r>
            <a:endParaRPr lang="en-US" sz="1400"/>
          </a:p>
        </p:txBody>
      </p:sp>
      <p:pic>
        <p:nvPicPr>
          <p:cNvPr id="21" name="Picture 20" descr="A white circles with black text">
            <a:extLst>
              <a:ext uri="{FF2B5EF4-FFF2-40B4-BE49-F238E27FC236}">
                <a16:creationId xmlns:a16="http://schemas.microsoft.com/office/drawing/2014/main" id="{BDDDDD8F-E51A-D9A1-A608-4B59740C444C}"/>
              </a:ext>
            </a:extLst>
          </p:cNvPr>
          <p:cNvPicPr>
            <a:picLocks noChangeAspect="1"/>
          </p:cNvPicPr>
          <p:nvPr/>
        </p:nvPicPr>
        <p:blipFill>
          <a:blip r:embed="rId4"/>
          <a:srcRect l="50097" t="7373" r="27422" b="17051"/>
          <a:stretch>
            <a:fillRect/>
          </a:stretch>
        </p:blipFill>
        <p:spPr>
          <a:xfrm>
            <a:off x="3824409" y="4503746"/>
            <a:ext cx="1605929" cy="1133190"/>
          </a:xfrm>
          <a:prstGeom prst="rect">
            <a:avLst/>
          </a:prstGeom>
        </p:spPr>
      </p:pic>
      <p:pic>
        <p:nvPicPr>
          <p:cNvPr id="23" name="Picture 22" descr="A graph of different points&#10;&#10;AI-generated content may be incorrect.">
            <a:extLst>
              <a:ext uri="{FF2B5EF4-FFF2-40B4-BE49-F238E27FC236}">
                <a16:creationId xmlns:a16="http://schemas.microsoft.com/office/drawing/2014/main" id="{B1DA0EF6-CDCA-3CF3-64B8-A54163DDE4CD}"/>
              </a:ext>
            </a:extLst>
          </p:cNvPr>
          <p:cNvPicPr>
            <a:picLocks noChangeAspect="1"/>
          </p:cNvPicPr>
          <p:nvPr/>
        </p:nvPicPr>
        <p:blipFill>
          <a:blip r:embed="rId5"/>
          <a:srcRect r="679" b="6487"/>
          <a:stretch>
            <a:fillRect/>
          </a:stretch>
        </p:blipFill>
        <p:spPr>
          <a:xfrm>
            <a:off x="7579765" y="2037357"/>
            <a:ext cx="4562430" cy="2183048"/>
          </a:xfrm>
          <a:prstGeom prst="rect">
            <a:avLst/>
          </a:prstGeom>
        </p:spPr>
      </p:pic>
      <p:sp>
        <p:nvSpPr>
          <p:cNvPr id="22" name="TextBox 4">
            <a:extLst>
              <a:ext uri="{FF2B5EF4-FFF2-40B4-BE49-F238E27FC236}">
                <a16:creationId xmlns:a16="http://schemas.microsoft.com/office/drawing/2014/main" id="{A3C53ED6-F102-A02D-A1AB-32B0B149FF7F}"/>
              </a:ext>
            </a:extLst>
          </p:cNvPr>
          <p:cNvSpPr txBox="1"/>
          <p:nvPr/>
        </p:nvSpPr>
        <p:spPr>
          <a:xfrm>
            <a:off x="7761871" y="1799144"/>
            <a:ext cx="3483663"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Random Forest feature importance</a:t>
            </a:r>
            <a:endParaRPr lang="en-US">
              <a:solidFill>
                <a:schemeClr val="bg2">
                  <a:lumMod val="25000"/>
                </a:schemeClr>
              </a:solidFill>
            </a:endParaRPr>
          </a:p>
        </p:txBody>
      </p:sp>
    </p:spTree>
    <p:extLst>
      <p:ext uri="{BB962C8B-B14F-4D97-AF65-F5344CB8AC3E}">
        <p14:creationId xmlns:p14="http://schemas.microsoft.com/office/powerpoint/2010/main" val="705894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Google Shape;507;p14">
            <a:extLst>
              <a:ext uri="{FF2B5EF4-FFF2-40B4-BE49-F238E27FC236}">
                <a16:creationId xmlns:a16="http://schemas.microsoft.com/office/drawing/2014/main" id="{3620BA7F-8E4E-F6D8-D9C9-9D2EB635FC9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FY2016-2024) merged with USAspending.gov (FY2019-2024)</a:t>
            </a:r>
            <a:endParaRPr lang="en-US">
              <a:ea typeface="+mn-lt"/>
              <a:cs typeface="+mn-lt"/>
            </a:endParaRPr>
          </a:p>
        </p:txBody>
      </p:sp>
      <p:graphicFrame>
        <p:nvGraphicFramePr>
          <p:cNvPr id="17" name="Table 16">
            <a:extLst>
              <a:ext uri="{FF2B5EF4-FFF2-40B4-BE49-F238E27FC236}">
                <a16:creationId xmlns:a16="http://schemas.microsoft.com/office/drawing/2014/main" id="{E5968284-9449-950F-F3F2-03B05079F257}"/>
              </a:ext>
            </a:extLst>
          </p:cNvPr>
          <p:cNvGraphicFramePr>
            <a:graphicFrameLocks noGrp="1"/>
          </p:cNvGraphicFramePr>
          <p:nvPr>
            <p:extLst>
              <p:ext uri="{D42A27DB-BD31-4B8C-83A1-F6EECF244321}">
                <p14:modId xmlns:p14="http://schemas.microsoft.com/office/powerpoint/2010/main" val="2889322106"/>
              </p:ext>
            </p:extLst>
          </p:nvPr>
        </p:nvGraphicFramePr>
        <p:xfrm>
          <a:off x="8632208" y="1330657"/>
          <a:ext cx="3000839" cy="3339536"/>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Funding Snapshot</a:t>
                      </a:r>
                    </a:p>
                  </a:txBody>
                  <a:tcPr/>
                </a:tc>
                <a:extLst>
                  <a:ext uri="{0D108BD9-81ED-4DB2-BD59-A6C34878D82A}">
                    <a16:rowId xmlns:a16="http://schemas.microsoft.com/office/drawing/2014/main" val="3181032172"/>
                  </a:ext>
                </a:extLst>
              </a:tr>
              <a:tr h="905435">
                <a:tc>
                  <a:txBody>
                    <a:bodyPr/>
                    <a:lstStyle/>
                    <a:p>
                      <a:pPr lvl="0">
                        <a:buNone/>
                      </a:pPr>
                      <a:r>
                        <a:rPr lang="en-US" sz="2400" b="1"/>
                        <a:t>$1.09 Trillion</a:t>
                      </a:r>
                      <a:br>
                        <a:rPr lang="en-US" sz="2400" b="1"/>
                      </a:br>
                      <a:r>
                        <a:rPr lang="en-US" sz="2000" b="1" i="0" u="none" strike="noStrike" noProof="0">
                          <a:solidFill>
                            <a:srgbClr val="000000"/>
                          </a:solidFill>
                          <a:latin typeface="Aptos"/>
                        </a:rPr>
                        <a:t>to High-Risk Entities</a:t>
                      </a:r>
                      <a:endParaRPr lang="en-US"/>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3x More Than Low Risk</a:t>
                      </a:r>
                    </a:p>
                  </a:txBody>
                  <a:tcPr/>
                </a:tc>
                <a:extLst>
                  <a:ext uri="{0D108BD9-81ED-4DB2-BD59-A6C34878D82A}">
                    <a16:rowId xmlns:a16="http://schemas.microsoft.com/office/drawing/2014/main" val="2840237138"/>
                  </a:ext>
                </a:extLst>
              </a:tr>
              <a:tr h="477671">
                <a:tc>
                  <a:txBody>
                    <a:bodyPr/>
                    <a:lstStyle/>
                    <a:p>
                      <a:pPr lvl="0">
                        <a:buNone/>
                      </a:pPr>
                      <a:r>
                        <a:rPr lang="en-US" sz="1800" b="0" i="0" u="none" strike="noStrike" noProof="0">
                          <a:solidFill>
                            <a:srgbClr val="000000"/>
                          </a:solidFill>
                          <a:latin typeface="Aptos"/>
                        </a:rPr>
                        <a:t>82% Funded to High &amp; Moderate Risk Entities</a:t>
                      </a:r>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rPr>
                        <a:t>42,222 audited entities receiving $2.06T in federal funding</a:t>
                      </a:r>
                      <a:endParaRPr lang="en-US" sz="1800" b="0" i="0" u="none" strike="noStrike" noProof="0">
                        <a:solidFill>
                          <a:srgbClr val="000000"/>
                        </a:solidFill>
                        <a:latin typeface="Aptos"/>
                      </a:endParaRPr>
                    </a:p>
                  </a:txBody>
                  <a:tcPr/>
                </a:tc>
                <a:extLst>
                  <a:ext uri="{0D108BD9-81ED-4DB2-BD59-A6C34878D82A}">
                    <a16:rowId xmlns:a16="http://schemas.microsoft.com/office/drawing/2014/main" val="2896748848"/>
                  </a:ext>
                </a:extLst>
              </a:tr>
            </a:tbl>
          </a:graphicData>
        </a:graphic>
      </p:graphicFrame>
      <p:sp>
        <p:nvSpPr>
          <p:cNvPr id="19" name="Rectangle: Rounded Corners 18">
            <a:extLst>
              <a:ext uri="{FF2B5EF4-FFF2-40B4-BE49-F238E27FC236}">
                <a16:creationId xmlns:a16="http://schemas.microsoft.com/office/drawing/2014/main" id="{5F0D5A97-579D-8005-A643-50F4A06CE175}"/>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Google Shape;934;p251">
            <a:extLst>
              <a:ext uri="{FF2B5EF4-FFF2-40B4-BE49-F238E27FC236}">
                <a16:creationId xmlns:a16="http://schemas.microsoft.com/office/drawing/2014/main" id="{2CD1DBE9-D19F-5D07-D807-8FBD2CD4A94B}"/>
              </a:ext>
            </a:extLst>
          </p:cNvPr>
          <p:cNvSpPr/>
          <p:nvPr/>
        </p:nvSpPr>
        <p:spPr>
          <a:xfrm>
            <a:off x="8870450" y="5258425"/>
            <a:ext cx="2528995" cy="1323408"/>
          </a:xfrm>
          <a:prstGeom prst="rect">
            <a:avLst/>
          </a:prstGeom>
          <a:noFill/>
          <a:ln>
            <a:noFill/>
          </a:ln>
        </p:spPr>
        <p:txBody>
          <a:bodyPr spcFirstLastPara="1" wrap="square" lIns="91433" tIns="45700" rIns="91433" bIns="45700" anchor="ctr" anchorCtr="0">
            <a:noAutofit/>
          </a:bodyPr>
          <a:lstStyle/>
          <a:p>
            <a:pPr algn="ctr"/>
            <a:r>
              <a:rPr lang="en-GB" sz="2100">
                <a:solidFill>
                  <a:schemeClr val="bg1"/>
                </a:solidFill>
                <a:ea typeface="+mn-lt"/>
                <a:cs typeface="+mn-lt"/>
              </a:rPr>
              <a:t>Audit failures don't stop the money. </a:t>
            </a:r>
            <a:r>
              <a:rPr lang="en-GB" sz="2100">
                <a:solidFill>
                  <a:schemeClr val="bg1">
                    <a:lumMod val="95000"/>
                  </a:schemeClr>
                </a:solidFill>
                <a:latin typeface="Consolas"/>
                <a:ea typeface="+mn-lt"/>
                <a:cs typeface="+mn-lt"/>
              </a:rPr>
              <a:t>Neither does being banned.</a:t>
            </a:r>
            <a:endParaRPr lang="en-US" sz="2100">
              <a:solidFill>
                <a:schemeClr val="bg1">
                  <a:lumMod val="95000"/>
                </a:schemeClr>
              </a:solidFill>
              <a:latin typeface="Consolas"/>
              <a:ea typeface="+mn-lt"/>
              <a:cs typeface="+mn-lt"/>
            </a:endParaRPr>
          </a:p>
          <a:p>
            <a:pPr algn="ctr"/>
            <a:endParaRPr lang="en-US" sz="2100">
              <a:solidFill>
                <a:schemeClr val="bg1"/>
              </a:solidFill>
              <a:ea typeface="+mn-lt"/>
              <a:cs typeface="+mn-lt"/>
            </a:endParaRPr>
          </a:p>
        </p:txBody>
      </p:sp>
      <p:sp>
        <p:nvSpPr>
          <p:cNvPr id="9" name="TextBox 4">
            <a:extLst>
              <a:ext uri="{FF2B5EF4-FFF2-40B4-BE49-F238E27FC236}">
                <a16:creationId xmlns:a16="http://schemas.microsoft.com/office/drawing/2014/main" id="{8BC0DFFC-AD41-D0D5-2E2A-4B13BD5112DF}"/>
              </a:ext>
            </a:extLst>
          </p:cNvPr>
          <p:cNvSpPr txBox="1"/>
          <p:nvPr/>
        </p:nvSpPr>
        <p:spPr>
          <a:xfrm>
            <a:off x="223159" y="1801102"/>
            <a:ext cx="5065566"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2">
                    <a:lumMod val="25000"/>
                  </a:schemeClr>
                </a:solidFill>
                <a:latin typeface="Aptos"/>
              </a:rPr>
              <a:t>Total Funding</a:t>
            </a:r>
            <a:endParaRPr lang="en-US">
              <a:solidFill>
                <a:schemeClr val="bg2">
                  <a:lumMod val="25000"/>
                </a:schemeClr>
              </a:solidFill>
            </a:endParaRPr>
          </a:p>
        </p:txBody>
      </p:sp>
      <p:grpSp>
        <p:nvGrpSpPr>
          <p:cNvPr id="16" name="Group 15">
            <a:extLst>
              <a:ext uri="{FF2B5EF4-FFF2-40B4-BE49-F238E27FC236}">
                <a16:creationId xmlns:a16="http://schemas.microsoft.com/office/drawing/2014/main" id="{6609340D-8A7F-152B-8743-C96BFF2148D9}"/>
              </a:ext>
            </a:extLst>
          </p:cNvPr>
          <p:cNvGrpSpPr/>
          <p:nvPr/>
        </p:nvGrpSpPr>
        <p:grpSpPr>
          <a:xfrm>
            <a:off x="146959" y="1333012"/>
            <a:ext cx="8486625" cy="4427979"/>
            <a:chOff x="146959" y="1492566"/>
            <a:chExt cx="8486625" cy="4427979"/>
          </a:xfrm>
        </p:grpSpPr>
        <p:sp>
          <p:nvSpPr>
            <p:cNvPr id="15" name="TextBox 4">
              <a:extLst>
                <a:ext uri="{FF2B5EF4-FFF2-40B4-BE49-F238E27FC236}">
                  <a16:creationId xmlns:a16="http://schemas.microsoft.com/office/drawing/2014/main" id="{FAE75441-B241-979C-E020-D7F482215BE9}"/>
                </a:ext>
              </a:extLst>
            </p:cNvPr>
            <p:cNvSpPr txBox="1"/>
            <p:nvPr/>
          </p:nvSpPr>
          <p:spPr>
            <a:xfrm>
              <a:off x="3091464" y="1492566"/>
              <a:ext cx="2267938"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Audit Health Score</a:t>
              </a:r>
              <a:endParaRPr lang="en-US" b="1">
                <a:solidFill>
                  <a:schemeClr val="bg2">
                    <a:lumMod val="25000"/>
                  </a:schemeClr>
                </a:solidFill>
              </a:endParaRPr>
            </a:p>
            <a:p>
              <a:endParaRPr lang="en-US" sz="1400" b="1">
                <a:solidFill>
                  <a:srgbClr val="000000"/>
                </a:solidFill>
              </a:endParaRPr>
            </a:p>
          </p:txBody>
        </p:sp>
        <p:pic>
          <p:nvPicPr>
            <p:cNvPr id="7" name="Picture 6" descr="A yellow circle with black numbers&#10;&#10;AI-generated content may be incorrect.">
              <a:extLst>
                <a:ext uri="{FF2B5EF4-FFF2-40B4-BE49-F238E27FC236}">
                  <a16:creationId xmlns:a16="http://schemas.microsoft.com/office/drawing/2014/main" id="{FB5BBEAD-0096-75C4-3976-3D0584290E61}"/>
                </a:ext>
              </a:extLst>
            </p:cNvPr>
            <p:cNvPicPr>
              <a:picLocks noChangeAspect="1"/>
            </p:cNvPicPr>
            <p:nvPr/>
          </p:nvPicPr>
          <p:blipFill>
            <a:blip r:embed="rId3"/>
            <a:srcRect l="56" t="-172" r="11429"/>
            <a:stretch>
              <a:fillRect/>
            </a:stretch>
          </p:blipFill>
          <p:spPr>
            <a:xfrm>
              <a:off x="299158" y="1714693"/>
              <a:ext cx="7848766" cy="2745095"/>
            </a:xfrm>
            <a:prstGeom prst="rect">
              <a:avLst/>
            </a:prstGeom>
          </p:spPr>
        </p:pic>
        <p:sp>
          <p:nvSpPr>
            <p:cNvPr id="11" name="TextBox 4">
              <a:extLst>
                <a:ext uri="{FF2B5EF4-FFF2-40B4-BE49-F238E27FC236}">
                  <a16:creationId xmlns:a16="http://schemas.microsoft.com/office/drawing/2014/main" id="{32186C7D-75CD-BBC1-C204-DBE4F03D95CA}"/>
                </a:ext>
              </a:extLst>
            </p:cNvPr>
            <p:cNvSpPr txBox="1"/>
            <p:nvPr/>
          </p:nvSpPr>
          <p:spPr>
            <a:xfrm>
              <a:off x="1857999" y="5397325"/>
              <a:ext cx="506556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solidFill>
                    <a:schemeClr val="bg2">
                      <a:lumMod val="25000"/>
                    </a:schemeClr>
                  </a:solidFill>
                  <a:latin typeface="Aptos"/>
                </a:rPr>
                <a:t>Number of recipients</a:t>
              </a:r>
              <a:endParaRPr lang="en-US">
                <a:solidFill>
                  <a:schemeClr val="bg2">
                    <a:lumMod val="25000"/>
                  </a:schemeClr>
                </a:solidFill>
              </a:endParaRPr>
            </a:p>
            <a:p>
              <a:endParaRPr lang="en-US" sz="1400" b="1">
                <a:solidFill>
                  <a:srgbClr val="000000"/>
                </a:solidFill>
              </a:endParaRPr>
            </a:p>
          </p:txBody>
        </p:sp>
        <p:pic>
          <p:nvPicPr>
            <p:cNvPr id="13" name="Picture 12" descr="A graph with numbers and a number of red and green squares">
              <a:extLst>
                <a:ext uri="{FF2B5EF4-FFF2-40B4-BE49-F238E27FC236}">
                  <a16:creationId xmlns:a16="http://schemas.microsoft.com/office/drawing/2014/main" id="{E93EF240-67BD-DF2E-11BB-645D330E520F}"/>
                </a:ext>
              </a:extLst>
            </p:cNvPr>
            <p:cNvPicPr>
              <a:picLocks noChangeAspect="1"/>
            </p:cNvPicPr>
            <p:nvPr/>
          </p:nvPicPr>
          <p:blipFill>
            <a:blip r:embed="rId4"/>
            <a:srcRect l="-129" t="-1351" r="-320" b="3250"/>
            <a:stretch>
              <a:fillRect/>
            </a:stretch>
          </p:blipFill>
          <p:spPr>
            <a:xfrm>
              <a:off x="146959" y="4606790"/>
              <a:ext cx="8486625" cy="788914"/>
            </a:xfrm>
            <a:prstGeom prst="rect">
              <a:avLst/>
            </a:prstGeom>
          </p:spPr>
        </p:pic>
      </p:grpSp>
      <p:sp>
        <p:nvSpPr>
          <p:cNvPr id="4" name="Title 1">
            <a:extLst>
              <a:ext uri="{FF2B5EF4-FFF2-40B4-BE49-F238E27FC236}">
                <a16:creationId xmlns:a16="http://schemas.microsoft.com/office/drawing/2014/main" id="{FEC00B2F-1EA1-FDA4-7A25-8CB33D57AD98}"/>
              </a:ext>
            </a:extLst>
          </p:cNvPr>
          <p:cNvSpPr txBox="1">
            <a:spLocks/>
          </p:cNvSpPr>
          <p:nvPr/>
        </p:nvSpPr>
        <p:spPr>
          <a:xfrm>
            <a:off x="554736" y="109851"/>
            <a:ext cx="10329286" cy="801858"/>
          </a:xfrm>
          <a:prstGeom prst="rect">
            <a:avLst/>
          </a:prstGeom>
          <a:solidFill>
            <a:schemeClr val="bg1"/>
          </a:solidFill>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highlight>
                  <a:srgbClr val="FFFFFF"/>
                </a:highlight>
                <a:latin typeface="Arial"/>
                <a:cs typeface="Arial"/>
              </a:rPr>
              <a:t>The Funding Paradox: High-Risk Entities Get 3x More</a:t>
            </a:r>
            <a:endParaRPr lang="en-US"/>
          </a:p>
        </p:txBody>
      </p:sp>
      <p:sp>
        <p:nvSpPr>
          <p:cNvPr id="14" name="TextBox 4">
            <a:extLst>
              <a:ext uri="{FF2B5EF4-FFF2-40B4-BE49-F238E27FC236}">
                <a16:creationId xmlns:a16="http://schemas.microsoft.com/office/drawing/2014/main" id="{68ECBF35-E10D-9CC2-926A-7952D515918A}"/>
              </a:ext>
            </a:extLst>
          </p:cNvPr>
          <p:cNvSpPr txBox="1"/>
          <p:nvPr/>
        </p:nvSpPr>
        <p:spPr>
          <a:xfrm>
            <a:off x="651415" y="916744"/>
            <a:ext cx="8876538"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1.09 trillion in taxpayer dollars went to recipients that auditors flagged for repeated failures.</a:t>
            </a:r>
          </a:p>
        </p:txBody>
      </p:sp>
    </p:spTree>
    <p:extLst>
      <p:ext uri="{BB962C8B-B14F-4D97-AF65-F5344CB8AC3E}">
        <p14:creationId xmlns:p14="http://schemas.microsoft.com/office/powerpoint/2010/main" val="158379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C924B-5DCE-4B31-2479-B516D504518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FA2FEA-FB74-72E3-8A07-A302B45D55B5}"/>
              </a:ext>
            </a:extLst>
          </p:cNvPr>
          <p:cNvSpPr>
            <a:spLocks noGrp="1"/>
          </p:cNvSpPr>
          <p:nvPr>
            <p:ph type="title"/>
          </p:nvPr>
        </p:nvSpPr>
        <p:spPr>
          <a:xfrm>
            <a:off x="554736" y="109851"/>
            <a:ext cx="11082528" cy="731520"/>
          </a:xfrm>
        </p:spPr>
        <p:txBody>
          <a:bodyPr/>
          <a:lstStyle/>
          <a:p>
            <a:r>
              <a:rPr lang="en-GB">
                <a:highlight>
                  <a:srgbClr val="FFFFFF"/>
                </a:highlight>
                <a:latin typeface="Aptos Display"/>
                <a:cs typeface="Arial"/>
              </a:rPr>
              <a:t>When the Score Hits Zero</a:t>
            </a:r>
          </a:p>
        </p:txBody>
      </p:sp>
      <p:graphicFrame>
        <p:nvGraphicFramePr>
          <p:cNvPr id="26" name="Table 25">
            <a:extLst>
              <a:ext uri="{FF2B5EF4-FFF2-40B4-BE49-F238E27FC236}">
                <a16:creationId xmlns:a16="http://schemas.microsoft.com/office/drawing/2014/main" id="{999E11CA-023C-72B2-F9A7-009951D826E2}"/>
              </a:ext>
            </a:extLst>
          </p:cNvPr>
          <p:cNvGraphicFramePr>
            <a:graphicFrameLocks noGrp="1"/>
          </p:cNvGraphicFramePr>
          <p:nvPr>
            <p:extLst>
              <p:ext uri="{D42A27DB-BD31-4B8C-83A1-F6EECF244321}">
                <p14:modId xmlns:p14="http://schemas.microsoft.com/office/powerpoint/2010/main" val="3850646085"/>
              </p:ext>
            </p:extLst>
          </p:nvPr>
        </p:nvGraphicFramePr>
        <p:xfrm>
          <a:off x="8624014" y="1215947"/>
          <a:ext cx="3000839" cy="2728890"/>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pPr lvl="0">
                        <a:buNone/>
                      </a:pPr>
                      <a:r>
                        <a:rPr lang="en-US"/>
                        <a:t>Risk Snapshot</a:t>
                      </a:r>
                    </a:p>
                  </a:txBody>
                  <a:tcPr/>
                </a:tc>
                <a:extLst>
                  <a:ext uri="{0D108BD9-81ED-4DB2-BD59-A6C34878D82A}">
                    <a16:rowId xmlns:a16="http://schemas.microsoft.com/office/drawing/2014/main" val="3181032172"/>
                  </a:ext>
                </a:extLst>
              </a:tr>
              <a:tr h="443345">
                <a:tc>
                  <a:txBody>
                    <a:bodyPr/>
                    <a:lstStyle/>
                    <a:p>
                      <a:pPr lvl="0">
                        <a:buNone/>
                      </a:pPr>
                      <a:r>
                        <a:rPr lang="en-US" sz="2000" b="0" i="0" u="none" strike="noStrike" noProof="0">
                          <a:solidFill>
                            <a:srgbClr val="000000"/>
                          </a:solidFill>
                        </a:rPr>
                        <a:t>10 state governments</a:t>
                      </a:r>
                      <a:endParaRPr lang="en-US"/>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rPr>
                        <a:t>#1 California: $570B</a:t>
                      </a:r>
                      <a:endParaRPr lang="en-US"/>
                    </a:p>
                  </a:txBody>
                  <a:tcPr/>
                </a:tc>
                <a:extLst>
                  <a:ext uri="{0D108BD9-81ED-4DB2-BD59-A6C34878D82A}">
                    <a16:rowId xmlns:a16="http://schemas.microsoft.com/office/drawing/2014/main" val="2840237138"/>
                  </a:ext>
                </a:extLst>
              </a:tr>
              <a:tr h="477671">
                <a:tc>
                  <a:txBody>
                    <a:bodyPr/>
                    <a:lstStyle/>
                    <a:p>
                      <a:pPr lvl="0">
                        <a:buNone/>
                      </a:pPr>
                      <a:r>
                        <a:rPr lang="en-US" sz="1800" b="0" i="0" u="none" strike="noStrike" noProof="0">
                          <a:solidFill>
                            <a:srgbClr val="000000"/>
                          </a:solidFill>
                        </a:rPr>
                        <a:t>Highest findings: 233 (MA)</a:t>
                      </a:r>
                      <a:endParaRPr lang="en-US" sz="1800" b="0" i="0" u="none" strike="noStrike" noProof="0">
                        <a:solidFill>
                          <a:srgbClr val="000000"/>
                        </a:solidFill>
                        <a:latin typeface="Aptos"/>
                      </a:endParaRPr>
                    </a:p>
                  </a:txBody>
                  <a:tcPr/>
                </a:tc>
                <a:extLst>
                  <a:ext uri="{0D108BD9-81ED-4DB2-BD59-A6C34878D82A}">
                    <a16:rowId xmlns:a16="http://schemas.microsoft.com/office/drawing/2014/main" val="2812688270"/>
                  </a:ext>
                </a:extLst>
              </a:tr>
              <a:tr h="464127">
                <a:tc>
                  <a:txBody>
                    <a:bodyPr/>
                    <a:lstStyle/>
                    <a:p>
                      <a:pPr lvl="0">
                        <a:buNone/>
                      </a:pPr>
                      <a:r>
                        <a:rPr lang="en-US" sz="1800" b="0" i="0" u="none" strike="noStrike" noProof="0">
                          <a:solidFill>
                            <a:srgbClr val="000000"/>
                          </a:solidFill>
                          <a:latin typeface="Aptos"/>
                        </a:rPr>
                        <a:t>$2.1T in expenditures</a:t>
                      </a:r>
                    </a:p>
                  </a:txBody>
                  <a:tcPr/>
                </a:tc>
                <a:extLst>
                  <a:ext uri="{0D108BD9-81ED-4DB2-BD59-A6C34878D82A}">
                    <a16:rowId xmlns:a16="http://schemas.microsoft.com/office/drawing/2014/main" val="2896748848"/>
                  </a:ext>
                </a:extLst>
              </a:tr>
              <a:tr h="464126">
                <a:tc>
                  <a:txBody>
                    <a:bodyPr/>
                    <a:lstStyle/>
                    <a:p>
                      <a:pPr lvl="0">
                        <a:buNone/>
                      </a:pPr>
                      <a:r>
                        <a:rPr lang="en-US" sz="1800" b="0" i="0" u="none" strike="noStrike" noProof="0">
                          <a:solidFill>
                            <a:srgbClr val="000000"/>
                          </a:solidFill>
                          <a:latin typeface="Aptos"/>
                        </a:rPr>
                        <a:t>TPS = 0 (all)</a:t>
                      </a:r>
                    </a:p>
                  </a:txBody>
                  <a:tcPr/>
                </a:tc>
                <a:extLst>
                  <a:ext uri="{0D108BD9-81ED-4DB2-BD59-A6C34878D82A}">
                    <a16:rowId xmlns:a16="http://schemas.microsoft.com/office/drawing/2014/main" val="3502581065"/>
                  </a:ext>
                </a:extLst>
              </a:tr>
            </a:tbl>
          </a:graphicData>
        </a:graphic>
      </p:graphicFrame>
      <p:sp>
        <p:nvSpPr>
          <p:cNvPr id="4" name="Google Shape;538;p14">
            <a:extLst>
              <a:ext uri="{FF2B5EF4-FFF2-40B4-BE49-F238E27FC236}">
                <a16:creationId xmlns:a16="http://schemas.microsoft.com/office/drawing/2014/main" id="{8ECC4C01-5074-DB8D-7368-D482A71C0C9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Datathon 2026</a:t>
            </a:r>
            <a:endParaRPr lang="en-US"/>
          </a:p>
        </p:txBody>
      </p:sp>
      <p:sp>
        <p:nvSpPr>
          <p:cNvPr id="6" name="Google Shape;507;p14">
            <a:extLst>
              <a:ext uri="{FF2B5EF4-FFF2-40B4-BE49-F238E27FC236}">
                <a16:creationId xmlns:a16="http://schemas.microsoft.com/office/drawing/2014/main" id="{48F36CC8-9FB3-2E1C-25F5-3258831AF9A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Single Audit Expenditures (FY2016-2024) merged with </a:t>
            </a:r>
            <a:r>
              <a:rPr lang="en-GB" sz="900" err="1">
                <a:ea typeface="+mn-lt"/>
                <a:cs typeface="+mn-lt"/>
                <a:sym typeface="Arial"/>
              </a:rPr>
              <a:t>USAspending</a:t>
            </a:r>
            <a:r>
              <a:rPr lang="en-GB" sz="900">
                <a:ea typeface="+mn-lt"/>
                <a:cs typeface="+mn-lt"/>
                <a:sym typeface="Arial"/>
              </a:rPr>
              <a:t> (FY2019-2024)</a:t>
            </a:r>
            <a:endParaRPr lang="en-US">
              <a:ea typeface="+mn-lt"/>
              <a:cs typeface="+mn-lt"/>
            </a:endParaRPr>
          </a:p>
        </p:txBody>
      </p:sp>
      <p:sp>
        <p:nvSpPr>
          <p:cNvPr id="9" name="TextBox 4">
            <a:extLst>
              <a:ext uri="{FF2B5EF4-FFF2-40B4-BE49-F238E27FC236}">
                <a16:creationId xmlns:a16="http://schemas.microsoft.com/office/drawing/2014/main" id="{C70C1763-2B6C-2E7C-877E-34F47BB455E4}"/>
              </a:ext>
            </a:extLst>
          </p:cNvPr>
          <p:cNvSpPr txBox="1"/>
          <p:nvPr/>
        </p:nvSpPr>
        <p:spPr>
          <a:xfrm>
            <a:off x="651415" y="916744"/>
            <a:ext cx="7977252"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The 10 largest recipients all have an Audit Health Score of 0.</a:t>
            </a:r>
            <a:endParaRPr lang="en-US"/>
          </a:p>
        </p:txBody>
      </p:sp>
      <p:sp>
        <p:nvSpPr>
          <p:cNvPr id="5" name="Rectangle: Rounded Corners 4">
            <a:extLst>
              <a:ext uri="{FF2B5EF4-FFF2-40B4-BE49-F238E27FC236}">
                <a16:creationId xmlns:a16="http://schemas.microsoft.com/office/drawing/2014/main" id="{AD9A4319-4B46-F390-F527-E542D812F281}"/>
              </a:ext>
            </a:extLst>
          </p:cNvPr>
          <p:cNvSpPr/>
          <p:nvPr/>
        </p:nvSpPr>
        <p:spPr>
          <a:xfrm>
            <a:off x="8878363" y="4908359"/>
            <a:ext cx="2518354" cy="17387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934;p251">
            <a:extLst>
              <a:ext uri="{FF2B5EF4-FFF2-40B4-BE49-F238E27FC236}">
                <a16:creationId xmlns:a16="http://schemas.microsoft.com/office/drawing/2014/main" id="{03AECCC8-6380-2C95-FE5E-CAF5DEA29423}"/>
              </a:ext>
            </a:extLst>
          </p:cNvPr>
          <p:cNvSpPr/>
          <p:nvPr/>
        </p:nvSpPr>
        <p:spPr>
          <a:xfrm>
            <a:off x="8870450" y="5114990"/>
            <a:ext cx="2528995" cy="1323408"/>
          </a:xfrm>
          <a:prstGeom prst="rect">
            <a:avLst/>
          </a:prstGeom>
          <a:noFill/>
          <a:ln>
            <a:noFill/>
          </a:ln>
        </p:spPr>
        <p:txBody>
          <a:bodyPr spcFirstLastPara="1" wrap="square" lIns="91433" tIns="45700" rIns="91433" bIns="45700" anchor="ctr" anchorCtr="0">
            <a:noAutofit/>
          </a:bodyPr>
          <a:lstStyle/>
          <a:p>
            <a:pPr algn="ctr"/>
            <a:r>
              <a:rPr lang="en-US" sz="2000">
                <a:solidFill>
                  <a:schemeClr val="bg1"/>
                </a:solidFill>
                <a:ea typeface="+mn-lt"/>
                <a:cs typeface="+mn-lt"/>
              </a:rPr>
              <a:t>Maximum risk. Maximum funding.</a:t>
            </a:r>
            <a:r>
              <a:rPr lang="en-US" sz="2000">
                <a:solidFill>
                  <a:schemeClr val="bg1">
                    <a:lumMod val="95000"/>
                  </a:schemeClr>
                </a:solidFill>
                <a:ea typeface="+mn-lt"/>
                <a:cs typeface="+mn-lt"/>
              </a:rPr>
              <a:t> Minimum accountability.</a:t>
            </a:r>
            <a:endParaRPr lang="en-US">
              <a:solidFill>
                <a:schemeClr val="bg1">
                  <a:lumMod val="95000"/>
                </a:schemeClr>
              </a:solidFill>
              <a:ea typeface="+mn-lt"/>
              <a:cs typeface="+mn-lt"/>
            </a:endParaRPr>
          </a:p>
        </p:txBody>
      </p:sp>
      <p:pic>
        <p:nvPicPr>
          <p:cNvPr id="7" name="Picture 6" descr="A map of the united states with red squares&#10;&#10;AI-generated content may be incorrect.">
            <a:extLst>
              <a:ext uri="{FF2B5EF4-FFF2-40B4-BE49-F238E27FC236}">
                <a16:creationId xmlns:a16="http://schemas.microsoft.com/office/drawing/2014/main" id="{D851B2E5-4CC0-1714-880A-A5A5534864BB}"/>
              </a:ext>
            </a:extLst>
          </p:cNvPr>
          <p:cNvPicPr>
            <a:picLocks noChangeAspect="1"/>
          </p:cNvPicPr>
          <p:nvPr/>
        </p:nvPicPr>
        <p:blipFill>
          <a:blip r:embed="rId3"/>
          <a:srcRect l="-39" t="-395" r="134" b="5226"/>
          <a:stretch>
            <a:fillRect/>
          </a:stretch>
        </p:blipFill>
        <p:spPr>
          <a:xfrm>
            <a:off x="1415434" y="1230058"/>
            <a:ext cx="6642709" cy="3553612"/>
          </a:xfrm>
          <a:prstGeom prst="rect">
            <a:avLst/>
          </a:prstGeom>
        </p:spPr>
      </p:pic>
      <p:pic>
        <p:nvPicPr>
          <p:cNvPr id="15" name="Picture 14">
            <a:extLst>
              <a:ext uri="{FF2B5EF4-FFF2-40B4-BE49-F238E27FC236}">
                <a16:creationId xmlns:a16="http://schemas.microsoft.com/office/drawing/2014/main" id="{A1ACB9DB-18E7-874B-10E1-179AA51EEC38}"/>
              </a:ext>
            </a:extLst>
          </p:cNvPr>
          <p:cNvPicPr>
            <a:picLocks noChangeAspect="1"/>
          </p:cNvPicPr>
          <p:nvPr/>
        </p:nvPicPr>
        <p:blipFill>
          <a:blip r:embed="rId4"/>
          <a:srcRect r="-180" b="-1592"/>
          <a:stretch>
            <a:fillRect/>
          </a:stretch>
        </p:blipFill>
        <p:spPr>
          <a:xfrm>
            <a:off x="651164" y="4783749"/>
            <a:ext cx="7405262" cy="1325376"/>
          </a:xfrm>
          <a:prstGeom prst="rect">
            <a:avLst/>
          </a:prstGeom>
        </p:spPr>
      </p:pic>
      <p:sp>
        <p:nvSpPr>
          <p:cNvPr id="17" name="TextBox 4">
            <a:extLst>
              <a:ext uri="{FF2B5EF4-FFF2-40B4-BE49-F238E27FC236}">
                <a16:creationId xmlns:a16="http://schemas.microsoft.com/office/drawing/2014/main" id="{3B224DE6-24D7-BEB2-6B6D-0EC227B2CE5C}"/>
              </a:ext>
            </a:extLst>
          </p:cNvPr>
          <p:cNvSpPr txBox="1"/>
          <p:nvPr/>
        </p:nvSpPr>
        <p:spPr>
          <a:xfrm>
            <a:off x="1123500" y="4281492"/>
            <a:ext cx="565723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latin typeface="Aptos"/>
              </a:rPr>
              <a:t>Audited</a:t>
            </a:r>
            <a:br>
              <a:rPr lang="en-US" sz="1400" b="1">
                <a:solidFill>
                  <a:schemeClr val="bg2">
                    <a:lumMod val="25000"/>
                  </a:schemeClr>
                </a:solidFill>
                <a:latin typeface="Aptos"/>
              </a:rPr>
            </a:br>
            <a:r>
              <a:rPr lang="en-US" sz="1400" b="1">
                <a:solidFill>
                  <a:schemeClr val="bg2">
                    <a:lumMod val="25000"/>
                  </a:schemeClr>
                </a:solidFill>
                <a:latin typeface="Aptos"/>
              </a:rPr>
              <a:t>Federal Expenditures </a:t>
            </a:r>
            <a:endParaRPr lang="en-US" sz="1400" b="1">
              <a:solidFill>
                <a:schemeClr val="bg2">
                  <a:lumMod val="25000"/>
                </a:schemeClr>
              </a:solidFill>
            </a:endParaRPr>
          </a:p>
        </p:txBody>
      </p:sp>
    </p:spTree>
    <p:extLst>
      <p:ext uri="{BB962C8B-B14F-4D97-AF65-F5344CB8AC3E}">
        <p14:creationId xmlns:p14="http://schemas.microsoft.com/office/powerpoint/2010/main" val="727614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39343-7CD7-7795-F8B4-7F4BB9F4FCA8}"/>
            </a:ext>
          </a:extLst>
        </p:cNvPr>
        <p:cNvGrpSpPr/>
        <p:nvPr/>
      </p:nvGrpSpPr>
      <p:grpSpPr>
        <a:xfrm>
          <a:off x="0" y="0"/>
          <a:ext cx="0" cy="0"/>
          <a:chOff x="0" y="0"/>
          <a:chExt cx="0" cy="0"/>
        </a:xfrm>
      </p:grpSpPr>
      <p:pic>
        <p:nvPicPr>
          <p:cNvPr id="17" name="Picture 16" descr="A diagram of a housing scheme&#10;&#10;AI-generated content may be incorrect.">
            <a:extLst>
              <a:ext uri="{FF2B5EF4-FFF2-40B4-BE49-F238E27FC236}">
                <a16:creationId xmlns:a16="http://schemas.microsoft.com/office/drawing/2014/main" id="{95F6C898-A3A5-5DAB-2A75-A97A11F62F25}"/>
              </a:ext>
            </a:extLst>
          </p:cNvPr>
          <p:cNvPicPr>
            <a:picLocks noChangeAspect="1"/>
          </p:cNvPicPr>
          <p:nvPr/>
        </p:nvPicPr>
        <p:blipFill>
          <a:blip r:embed="rId4"/>
          <a:srcRect t="-423" r="10167" b="-186"/>
          <a:stretch>
            <a:fillRect/>
          </a:stretch>
        </p:blipFill>
        <p:spPr>
          <a:xfrm>
            <a:off x="212237" y="2101741"/>
            <a:ext cx="3933985" cy="2956572"/>
          </a:xfrm>
          <a:prstGeom prst="rect">
            <a:avLst/>
          </a:prstGeom>
        </p:spPr>
      </p:pic>
      <p:graphicFrame>
        <p:nvGraphicFramePr>
          <p:cNvPr id="5" name="Object 4" hidden="1">
            <a:extLst>
              <a:ext uri="{FF2B5EF4-FFF2-40B4-BE49-F238E27FC236}">
                <a16:creationId xmlns:a16="http://schemas.microsoft.com/office/drawing/2014/main" id="{2DE46C13-A63E-362F-9C7F-9E745D1885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7EC9FC91-F9FB-7FF3-C25B-7D85B247F1E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FC915B-47BF-C4A4-8F24-A629155E4FF9}"/>
              </a:ext>
            </a:extLst>
          </p:cNvPr>
          <p:cNvSpPr>
            <a:spLocks noGrp="1"/>
          </p:cNvSpPr>
          <p:nvPr>
            <p:ph type="title"/>
          </p:nvPr>
        </p:nvSpPr>
        <p:spPr>
          <a:xfrm>
            <a:off x="563596" y="284208"/>
            <a:ext cx="10985063" cy="731520"/>
          </a:xfrm>
        </p:spPr>
        <p:txBody>
          <a:bodyPr/>
          <a:lstStyle/>
          <a:p>
            <a:r>
              <a:rPr lang="en-US">
                <a:ea typeface="+mj-lt"/>
                <a:cs typeface="+mj-lt"/>
              </a:rPr>
              <a:t>A Gap in the System</a:t>
            </a:r>
            <a:endParaRPr lang="en-US"/>
          </a:p>
        </p:txBody>
      </p:sp>
      <p:sp>
        <p:nvSpPr>
          <p:cNvPr id="4" name="Google Shape;878;p247">
            <a:extLst>
              <a:ext uri="{FF2B5EF4-FFF2-40B4-BE49-F238E27FC236}">
                <a16:creationId xmlns:a16="http://schemas.microsoft.com/office/drawing/2014/main" id="{F22B31C6-AE40-5222-05EC-F010F3444BD8}"/>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Key Players</a:t>
            </a:r>
            <a:endParaRPr lang="en-US"/>
          </a:p>
        </p:txBody>
      </p:sp>
      <p:sp>
        <p:nvSpPr>
          <p:cNvPr id="7" name="Google Shape;879;p247">
            <a:extLst>
              <a:ext uri="{FF2B5EF4-FFF2-40B4-BE49-F238E27FC236}">
                <a16:creationId xmlns:a16="http://schemas.microsoft.com/office/drawing/2014/main" id="{904EE5DF-252D-4B81-8626-BCD70C9A63E1}"/>
              </a:ext>
            </a:extLst>
          </p:cNvPr>
          <p:cNvSpPr txBox="1"/>
          <p:nvPr/>
        </p:nvSpPr>
        <p:spPr>
          <a:xfrm>
            <a:off x="4330398" y="1715102"/>
            <a:ext cx="3526178" cy="408038"/>
          </a:xfrm>
          <a:prstGeom prst="rect">
            <a:avLst/>
          </a:prstGeom>
          <a:solidFill>
            <a:schemeClr val="accent2"/>
          </a:solidFill>
          <a:ln>
            <a:noFill/>
          </a:ln>
        </p:spPr>
        <p:txBody>
          <a:bodyPr spcFirstLastPara="1" wrap="square" lIns="91433" tIns="45700" rIns="91433" bIns="45700" anchor="ctr" anchorCtr="0">
            <a:noAutofit/>
          </a:bodyPr>
          <a:lstStyle/>
          <a:p>
            <a:r>
              <a:rPr lang="en" sz="1600" b="1">
                <a:solidFill>
                  <a:schemeClr val="bg1"/>
                </a:solidFill>
                <a:sym typeface="Helvetica Neue"/>
              </a:rPr>
              <a:t>What Went Wrong</a:t>
            </a:r>
            <a:endParaRPr lang="en-US">
              <a:solidFill>
                <a:schemeClr val="bg1"/>
              </a:solidFill>
            </a:endParaRPr>
          </a:p>
        </p:txBody>
      </p:sp>
      <p:sp>
        <p:nvSpPr>
          <p:cNvPr id="9" name="Google Shape;880;p247">
            <a:extLst>
              <a:ext uri="{FF2B5EF4-FFF2-40B4-BE49-F238E27FC236}">
                <a16:creationId xmlns:a16="http://schemas.microsoft.com/office/drawing/2014/main" id="{797D07D8-0414-2799-AF5B-1D7929F3CFEB}"/>
              </a:ext>
            </a:extLst>
          </p:cNvPr>
          <p:cNvSpPr txBox="1"/>
          <p:nvPr/>
        </p:nvSpPr>
        <p:spPr>
          <a:xfrm>
            <a:off x="8099868" y="1715102"/>
            <a:ext cx="3526178" cy="408038"/>
          </a:xfrm>
          <a:prstGeom prst="rect">
            <a:avLst/>
          </a:prstGeom>
          <a:solidFill>
            <a:schemeClr val="accent4"/>
          </a:solidFill>
          <a:ln>
            <a:noFill/>
          </a:ln>
        </p:spPr>
        <p:txBody>
          <a:bodyPr spcFirstLastPara="1" wrap="square" lIns="91433" tIns="45700" rIns="91433" bIns="45700" anchor="ctr" anchorCtr="0">
            <a:noAutofit/>
          </a:bodyPr>
          <a:lstStyle/>
          <a:p>
            <a:r>
              <a:rPr lang="en" sz="1600" b="1">
                <a:solidFill>
                  <a:schemeClr val="bg1"/>
                </a:solidFill>
              </a:rPr>
              <a:t>The Gap</a:t>
            </a:r>
          </a:p>
        </p:txBody>
      </p:sp>
      <p:cxnSp>
        <p:nvCxnSpPr>
          <p:cNvPr id="11" name="Google Shape;889;p247">
            <a:extLst>
              <a:ext uri="{FF2B5EF4-FFF2-40B4-BE49-F238E27FC236}">
                <a16:creationId xmlns:a16="http://schemas.microsoft.com/office/drawing/2014/main" id="{C8255222-327F-F540-F777-7E50D6EDC57F}"/>
              </a:ext>
            </a:extLst>
          </p:cNvPr>
          <p:cNvCxnSpPr>
            <a:cxnSpLocks/>
          </p:cNvCxnSpPr>
          <p:nvPr/>
        </p:nvCxnSpPr>
        <p:spPr>
          <a:xfrm>
            <a:off x="7965790"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5" name="Google Shape;882;p247">
            <a:extLst>
              <a:ext uri="{FF2B5EF4-FFF2-40B4-BE49-F238E27FC236}">
                <a16:creationId xmlns:a16="http://schemas.microsoft.com/office/drawing/2014/main" id="{36302CDA-6D31-ED44-A516-603E04E4F13A}"/>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r>
              <a:rPr lang="en-US" sz="1400" b="1">
                <a:ea typeface="+mn-lt"/>
                <a:cs typeface="+mn-lt"/>
              </a:rPr>
              <a:t>2 CFR § 180.300</a:t>
            </a:r>
            <a:r>
              <a:rPr lang="en-US" sz="1400">
                <a:ea typeface="+mn-lt"/>
                <a:cs typeface="+mn-lt"/>
              </a:rPr>
              <a:t>: Requires checking exclusion status before covered transactions.</a:t>
            </a:r>
            <a:endParaRPr lang="en-US"/>
          </a:p>
          <a:p>
            <a:pPr marL="285750" indent="-285750">
              <a:buFont typeface="Arial,Sans-Serif"/>
              <a:buChar char="•"/>
            </a:pPr>
            <a:r>
              <a:rPr lang="en-US" sz="1400">
                <a:ea typeface="+mn-lt"/>
                <a:cs typeface="+mn-lt"/>
              </a:rPr>
              <a:t>Agencies are required to verify an entity isn't excluded before entering transactions. </a:t>
            </a:r>
          </a:p>
          <a:p>
            <a:pPr marL="285750" indent="-285750">
              <a:buFont typeface="Arial,Sans-Serif"/>
              <a:buChar char="•"/>
            </a:pPr>
            <a:r>
              <a:rPr lang="en-US" sz="1400">
                <a:ea typeface="+mn-lt"/>
                <a:cs typeface="+mn-lt"/>
              </a:rPr>
              <a:t>Prince Hall was excluded by HUD in 1997. Section 8 payments </a:t>
            </a:r>
            <a:r>
              <a:rPr lang="en-US" sz="1400" b="1">
                <a:ea typeface="+mn-lt"/>
                <a:cs typeface="+mn-lt"/>
              </a:rPr>
              <a:t>were not screened</a:t>
            </a:r>
            <a:r>
              <a:rPr lang="en-US" sz="1400">
                <a:ea typeface="+mn-lt"/>
                <a:cs typeface="+mn-lt"/>
              </a:rPr>
              <a:t>.</a:t>
            </a:r>
            <a:endParaRPr lang="en-US"/>
          </a:p>
          <a:p>
            <a:pPr marL="285750" indent="-285750">
              <a:buFont typeface="Arial"/>
              <a:buChar char="•"/>
            </a:pPr>
            <a:r>
              <a:rPr lang="en-US" sz="1400">
                <a:ea typeface="+mn-lt"/>
                <a:cs typeface="+mn-lt"/>
              </a:rPr>
              <a:t>PHAs relied on </a:t>
            </a:r>
            <a:r>
              <a:rPr lang="en-US" sz="1400" b="1">
                <a:ea typeface="+mn-lt"/>
                <a:cs typeface="+mn-lt"/>
              </a:rPr>
              <a:t>manual checks</a:t>
            </a:r>
            <a:endParaRPr lang="en-US"/>
          </a:p>
          <a:p>
            <a:pPr marL="285750" indent="-285750">
              <a:buFont typeface="Arial"/>
              <a:buChar char="•"/>
            </a:pPr>
            <a:r>
              <a:rPr lang="en-US" sz="1400">
                <a:ea typeface="+mn-lt"/>
                <a:cs typeface="+mn-lt"/>
              </a:rPr>
              <a:t>Exclusion enforcement </a:t>
            </a:r>
            <a:r>
              <a:rPr lang="en-US" sz="1400" b="1">
                <a:ea typeface="+mn-lt"/>
                <a:cs typeface="+mn-lt"/>
              </a:rPr>
              <a:t>failed across decentralized systems</a:t>
            </a:r>
            <a:endParaRPr lang="en-US"/>
          </a:p>
          <a:p>
            <a:pPr marL="285750" indent="-285750">
              <a:buFont typeface="Arial"/>
              <a:buChar char="•"/>
            </a:pPr>
            <a:r>
              <a:rPr lang="en-US" sz="1400" b="1">
                <a:ea typeface="+mn-lt"/>
                <a:cs typeface="+mn-lt"/>
              </a:rPr>
              <a:t>~$2M paid</a:t>
            </a:r>
            <a:r>
              <a:rPr lang="en-US" sz="1400">
                <a:ea typeface="+mn-lt"/>
                <a:cs typeface="+mn-lt"/>
              </a:rPr>
              <a:t> in Section 8 subsidies</a:t>
            </a:r>
            <a:endParaRPr lang="en-US">
              <a:ea typeface="+mn-lt"/>
              <a:cs typeface="+mn-lt"/>
            </a:endParaRPr>
          </a:p>
          <a:p>
            <a:pPr marL="285750" indent="-285750">
              <a:buFont typeface="Arial"/>
              <a:buChar char="•"/>
            </a:pPr>
            <a:r>
              <a:rPr lang="en-US" sz="1400">
                <a:ea typeface="+mn-lt"/>
                <a:cs typeface="+mn-lt"/>
              </a:rPr>
              <a:t>Payments confirmed through </a:t>
            </a:r>
            <a:r>
              <a:rPr lang="en-US" sz="1400" b="1">
                <a:ea typeface="+mn-lt"/>
                <a:cs typeface="+mn-lt"/>
              </a:rPr>
              <a:t>2022 audit activity</a:t>
            </a:r>
            <a:endParaRPr lang="en-US">
              <a:ea typeface="+mn-lt"/>
              <a:cs typeface="+mn-lt"/>
            </a:endParaRPr>
          </a:p>
          <a:p>
            <a:pPr marL="285750" indent="-285750">
              <a:buFont typeface="Arial"/>
              <a:buChar char="•"/>
            </a:pPr>
            <a:r>
              <a:rPr lang="en-US" sz="1400">
                <a:ea typeface="+mn-lt"/>
                <a:cs typeface="+mn-lt"/>
              </a:rPr>
              <a:t>Failure persisted for </a:t>
            </a:r>
            <a:r>
              <a:rPr lang="en-US" sz="1400" b="1">
                <a:ea typeface="+mn-lt"/>
                <a:cs typeface="+mn-lt"/>
              </a:rPr>
              <a:t>28 years</a:t>
            </a:r>
            <a:endParaRPr lang="en-US">
              <a:ea typeface="+mn-lt"/>
              <a:cs typeface="+mn-lt"/>
            </a:endParaRPr>
          </a:p>
          <a:p>
            <a:pPr>
              <a:buFont typeface="Arial"/>
            </a:pPr>
            <a:endParaRPr lang="en-US" sz="1400" b="1"/>
          </a:p>
          <a:p>
            <a:pPr>
              <a:spcAft>
                <a:spcPts val="600"/>
              </a:spcAft>
            </a:pPr>
            <a:endParaRPr lang="en-US" sz="1400"/>
          </a:p>
          <a:p>
            <a:pPr marL="226695" indent="-226695">
              <a:spcAft>
                <a:spcPts val="600"/>
              </a:spcAft>
              <a:buClr>
                <a:srgbClr val="3F3F3F"/>
              </a:buClr>
              <a:buSzPct val="100000"/>
              <a:buFont typeface="Arial" panose="020B0604020202020204" pitchFamily="34" charset="0"/>
              <a:buChar char="•"/>
            </a:pPr>
            <a:endParaRPr lang="en-US" sz="1400"/>
          </a:p>
        </p:txBody>
      </p:sp>
      <p:sp>
        <p:nvSpPr>
          <p:cNvPr id="16" name="Google Shape;883;p247">
            <a:extLst>
              <a:ext uri="{FF2B5EF4-FFF2-40B4-BE49-F238E27FC236}">
                <a16:creationId xmlns:a16="http://schemas.microsoft.com/office/drawing/2014/main" id="{8CB23EF8-200A-B022-1F2E-4FF31CCBCFE8}"/>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26695" indent="-226695">
              <a:spcAft>
                <a:spcPts val="600"/>
              </a:spcAft>
              <a:buClr>
                <a:srgbClr val="3F3F3F"/>
              </a:buClr>
              <a:buSzPct val="100000"/>
              <a:buFont typeface="Arial" panose="020B0604020202020204" pitchFamily="34" charset="0"/>
              <a:buChar char="•"/>
            </a:pPr>
            <a:r>
              <a:rPr lang="en" sz="1400">
                <a:ea typeface="+mn-lt"/>
                <a:cs typeface="+mn-lt"/>
              </a:rPr>
              <a:t>Without </a:t>
            </a:r>
            <a:r>
              <a:rPr lang="en" sz="1400" b="1">
                <a:ea typeface="+mn-lt"/>
                <a:cs typeface="+mn-lt"/>
              </a:rPr>
              <a:t>automated, pre-payment exclusion screening</a:t>
            </a:r>
            <a:r>
              <a:rPr lang="en" sz="1400">
                <a:ea typeface="+mn-lt"/>
                <a:cs typeface="+mn-lt"/>
              </a:rPr>
              <a:t>, permanent exclusions can be effectively ignored, even within a single agency.</a:t>
            </a:r>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A glaring intra-agency oversight</a:t>
            </a:r>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Clean audits don't reveal exclusion status. Data must be integrated.</a:t>
            </a:r>
          </a:p>
        </p:txBody>
      </p:sp>
      <p:cxnSp>
        <p:nvCxnSpPr>
          <p:cNvPr id="18" name="Google Shape;885;p247">
            <a:extLst>
              <a:ext uri="{FF2B5EF4-FFF2-40B4-BE49-F238E27FC236}">
                <a16:creationId xmlns:a16="http://schemas.microsoft.com/office/drawing/2014/main" id="{3B5AE8D8-A3BA-9321-12A0-D39FE6B99B05}"/>
              </a:ext>
            </a:extLst>
          </p:cNvPr>
          <p:cNvCxnSpPr>
            <a:cxnSpLocks/>
          </p:cNvCxnSpPr>
          <p:nvPr/>
        </p:nvCxnSpPr>
        <p:spPr>
          <a:xfrm>
            <a:off x="4196319"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8" name="Google Shape;538;p14">
            <a:extLst>
              <a:ext uri="{FF2B5EF4-FFF2-40B4-BE49-F238E27FC236}">
                <a16:creationId xmlns:a16="http://schemas.microsoft.com/office/drawing/2014/main" id="{6E600C15-6487-766A-04EA-28ABBDB1F0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3" name="TextBox 4">
            <a:extLst>
              <a:ext uri="{FF2B5EF4-FFF2-40B4-BE49-F238E27FC236}">
                <a16:creationId xmlns:a16="http://schemas.microsoft.com/office/drawing/2014/main" id="{9E35C518-6C0E-A38B-CBFC-4A31742F1C2B}"/>
              </a:ext>
            </a:extLst>
          </p:cNvPr>
          <p:cNvSpPr txBox="1"/>
          <p:nvPr/>
        </p:nvSpPr>
        <p:spPr>
          <a:xfrm>
            <a:off x="651415" y="916744"/>
            <a:ext cx="5568632" cy="800219"/>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How HUD Paid an Excluded Entity for 28 Years</a:t>
            </a:r>
          </a:p>
          <a:p>
            <a:endParaRPr lang="en-US" sz="3200">
              <a:solidFill>
                <a:srgbClr val="000000"/>
              </a:solidFill>
            </a:endParaRPr>
          </a:p>
        </p:txBody>
      </p:sp>
      <p:sp>
        <p:nvSpPr>
          <p:cNvPr id="10" name="Rectangle: Rounded Corners 9">
            <a:extLst>
              <a:ext uri="{FF2B5EF4-FFF2-40B4-BE49-F238E27FC236}">
                <a16:creationId xmlns:a16="http://schemas.microsoft.com/office/drawing/2014/main" id="{019A8CE3-57F6-9C71-C735-5140CEE5769F}"/>
              </a:ext>
            </a:extLst>
          </p:cNvPr>
          <p:cNvSpPr/>
          <p:nvPr/>
        </p:nvSpPr>
        <p:spPr>
          <a:xfrm>
            <a:off x="8433375" y="4701436"/>
            <a:ext cx="2718715" cy="87156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oogle Shape;934;p251">
            <a:extLst>
              <a:ext uri="{FF2B5EF4-FFF2-40B4-BE49-F238E27FC236}">
                <a16:creationId xmlns:a16="http://schemas.microsoft.com/office/drawing/2014/main" id="{C9396294-CF6D-62BF-84B9-AFAC26BE5D2B}"/>
              </a:ext>
            </a:extLst>
          </p:cNvPr>
          <p:cNvSpPr/>
          <p:nvPr/>
        </p:nvSpPr>
        <p:spPr>
          <a:xfrm>
            <a:off x="4637154" y="6129521"/>
            <a:ext cx="3101782" cy="969738"/>
          </a:xfrm>
          <a:prstGeom prst="rect">
            <a:avLst/>
          </a:prstGeom>
          <a:noFill/>
          <a:ln>
            <a:noFill/>
          </a:ln>
        </p:spPr>
        <p:txBody>
          <a:bodyPr spcFirstLastPara="1" wrap="square" lIns="91433" tIns="45700" rIns="91433" bIns="45700" anchor="ctr" anchorCtr="0">
            <a:noAutofit/>
          </a:bodyPr>
          <a:lstStyle/>
          <a:p>
            <a:pPr marL="285750" indent="-285750">
              <a:buFont typeface="Arial"/>
              <a:buChar char="•"/>
            </a:pPr>
            <a:endParaRPr lang="en-US" sz="1200">
              <a:solidFill>
                <a:schemeClr val="bg1"/>
              </a:solidFill>
            </a:endParaRPr>
          </a:p>
        </p:txBody>
      </p:sp>
      <p:sp>
        <p:nvSpPr>
          <p:cNvPr id="23" name="Google Shape;507;p14">
            <a:extLst>
              <a:ext uri="{FF2B5EF4-FFF2-40B4-BE49-F238E27FC236}">
                <a16:creationId xmlns:a16="http://schemas.microsoft.com/office/drawing/2014/main" id="{69D977D2-73F9-3C46-46ED-1E5A330AD2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SAM.gov Public Extract 25361 (Dec 27, 2025) | FAC (FY2016-2024) | USAspending.gov (FY2019-2024) | 2 CFR § 180.300</a:t>
            </a:r>
            <a:endParaRPr lang="en-US">
              <a:ea typeface="+mn-lt"/>
              <a:cs typeface="+mn-lt"/>
            </a:endParaRPr>
          </a:p>
        </p:txBody>
      </p:sp>
      <p:sp>
        <p:nvSpPr>
          <p:cNvPr id="22" name="Google Shape;934;p251">
            <a:extLst>
              <a:ext uri="{FF2B5EF4-FFF2-40B4-BE49-F238E27FC236}">
                <a16:creationId xmlns:a16="http://schemas.microsoft.com/office/drawing/2014/main" id="{B57274A3-0D53-C98A-C983-0A055A742E14}"/>
              </a:ext>
            </a:extLst>
          </p:cNvPr>
          <p:cNvSpPr/>
          <p:nvPr/>
        </p:nvSpPr>
        <p:spPr>
          <a:xfrm>
            <a:off x="8433235" y="4409107"/>
            <a:ext cx="2715757" cy="1631532"/>
          </a:xfrm>
          <a:prstGeom prst="rect">
            <a:avLst/>
          </a:prstGeom>
          <a:noFill/>
          <a:ln>
            <a:noFill/>
          </a:ln>
        </p:spPr>
        <p:txBody>
          <a:bodyPr spcFirstLastPara="1" wrap="square" lIns="91433" tIns="45700" rIns="91433" bIns="45700" anchor="ctr" anchorCtr="0">
            <a:noAutofit/>
          </a:bodyPr>
          <a:lstStyle/>
          <a:p>
            <a:pPr marL="285750" indent="-285750">
              <a:buFont typeface="Arial"/>
              <a:buChar char="•"/>
            </a:pPr>
            <a:r>
              <a:rPr lang="en-US" sz="1200">
                <a:solidFill>
                  <a:schemeClr val="bg1"/>
                </a:solidFill>
                <a:ea typeface="+mn-lt"/>
                <a:cs typeface="+mn-lt"/>
              </a:rPr>
              <a:t>Undermines federal payment integrity and public trust.</a:t>
            </a:r>
            <a:endParaRPr lang="en-US" sz="1200">
              <a:solidFill>
                <a:schemeClr val="bg1"/>
              </a:solidFill>
            </a:endParaRPr>
          </a:p>
          <a:p>
            <a:pPr marL="285750" indent="-285750">
              <a:buFont typeface="Arial"/>
              <a:buChar char="•"/>
            </a:pPr>
            <a:r>
              <a:rPr lang="en-US" sz="1200">
                <a:solidFill>
                  <a:schemeClr val="bg1"/>
                </a:solidFill>
                <a:ea typeface="+mn-lt"/>
                <a:cs typeface="+mn-lt"/>
              </a:rPr>
              <a:t>Creates legal, financial, and reputational risk.</a:t>
            </a:r>
            <a:endParaRPr lang="en-US" sz="1200">
              <a:solidFill>
                <a:schemeClr val="bg1"/>
              </a:solidFill>
            </a:endParaRPr>
          </a:p>
          <a:p>
            <a:endParaRPr lang="en-US" sz="1200">
              <a:solidFill>
                <a:schemeClr val="bg1"/>
              </a:solidFill>
            </a:endParaRPr>
          </a:p>
        </p:txBody>
      </p:sp>
    </p:spTree>
    <p:extLst>
      <p:ext uri="{BB962C8B-B14F-4D97-AF65-F5344CB8AC3E}">
        <p14:creationId xmlns:p14="http://schemas.microsoft.com/office/powerpoint/2010/main" val="114997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A60FD-66BB-EF76-3CAB-46C04676510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C9FC91-F9FB-7FF3-C25B-7D85B247F1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94A48E8B-E762-1F24-C685-4FC86514B2B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20F81-131E-B196-A7EE-400303228352}"/>
              </a:ext>
            </a:extLst>
          </p:cNvPr>
          <p:cNvSpPr>
            <a:spLocks noGrp="1"/>
          </p:cNvSpPr>
          <p:nvPr>
            <p:ph type="title"/>
          </p:nvPr>
        </p:nvSpPr>
        <p:spPr>
          <a:xfrm>
            <a:off x="563596" y="284208"/>
            <a:ext cx="10985063" cy="731520"/>
          </a:xfrm>
        </p:spPr>
        <p:txBody>
          <a:bodyPr/>
          <a:lstStyle/>
          <a:p>
            <a:r>
              <a:rPr lang="en-US">
                <a:ea typeface="+mj-lt"/>
                <a:cs typeface="+mj-lt"/>
              </a:rPr>
              <a:t>Banned by One Agency, Paid by Another</a:t>
            </a:r>
            <a:endParaRPr lang="en-US"/>
          </a:p>
        </p:txBody>
      </p:sp>
      <p:sp>
        <p:nvSpPr>
          <p:cNvPr id="4" name="Google Shape;878;p247">
            <a:extLst>
              <a:ext uri="{FF2B5EF4-FFF2-40B4-BE49-F238E27FC236}">
                <a16:creationId xmlns:a16="http://schemas.microsoft.com/office/drawing/2014/main" id="{680113E5-41A3-BF8F-E3DB-12D5FB0E2638}"/>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What Went Wrong</a:t>
            </a:r>
            <a:endParaRPr lang="en-US"/>
          </a:p>
        </p:txBody>
      </p:sp>
      <p:sp>
        <p:nvSpPr>
          <p:cNvPr id="7" name="Google Shape;879;p247">
            <a:extLst>
              <a:ext uri="{FF2B5EF4-FFF2-40B4-BE49-F238E27FC236}">
                <a16:creationId xmlns:a16="http://schemas.microsoft.com/office/drawing/2014/main" id="{AE1C7B14-783B-1E81-C63F-EB2A1128B9D6}"/>
              </a:ext>
            </a:extLst>
          </p:cNvPr>
          <p:cNvSpPr txBox="1"/>
          <p:nvPr/>
        </p:nvSpPr>
        <p:spPr>
          <a:xfrm>
            <a:off x="4330398" y="1715102"/>
            <a:ext cx="3526178" cy="408038"/>
          </a:xfrm>
          <a:prstGeom prst="rect">
            <a:avLst/>
          </a:prstGeom>
          <a:solidFill>
            <a:schemeClr val="accent2"/>
          </a:solidFill>
          <a:ln>
            <a:noFill/>
          </a:ln>
        </p:spPr>
        <p:txBody>
          <a:bodyPr spcFirstLastPara="1" wrap="square" lIns="91433" tIns="45700" rIns="91433" bIns="45700" anchor="ctr" anchorCtr="0">
            <a:noAutofit/>
          </a:bodyPr>
          <a:lstStyle/>
          <a:p>
            <a:r>
              <a:rPr lang="en" sz="1600" b="1">
                <a:solidFill>
                  <a:schemeClr val="bg1"/>
                </a:solidFill>
                <a:sym typeface="Helvetica Neue"/>
              </a:rPr>
              <a:t>Key Legal Principles</a:t>
            </a:r>
            <a:endParaRPr lang="en-US"/>
          </a:p>
        </p:txBody>
      </p:sp>
      <p:sp>
        <p:nvSpPr>
          <p:cNvPr id="9" name="Google Shape;880;p247">
            <a:extLst>
              <a:ext uri="{FF2B5EF4-FFF2-40B4-BE49-F238E27FC236}">
                <a16:creationId xmlns:a16="http://schemas.microsoft.com/office/drawing/2014/main" id="{E489CBFA-0A42-999D-D9F7-D4DEC4FFA986}"/>
              </a:ext>
            </a:extLst>
          </p:cNvPr>
          <p:cNvSpPr txBox="1"/>
          <p:nvPr/>
        </p:nvSpPr>
        <p:spPr>
          <a:xfrm>
            <a:off x="8099868" y="1715102"/>
            <a:ext cx="3526178" cy="408038"/>
          </a:xfrm>
          <a:prstGeom prst="rect">
            <a:avLst/>
          </a:prstGeom>
          <a:solidFill>
            <a:schemeClr val="accent4"/>
          </a:solidFill>
          <a:ln>
            <a:noFill/>
          </a:ln>
        </p:spPr>
        <p:txBody>
          <a:bodyPr spcFirstLastPara="1" wrap="square" lIns="91433" tIns="45700" rIns="91433" bIns="45700" anchor="ctr" anchorCtr="0">
            <a:noAutofit/>
          </a:bodyPr>
          <a:lstStyle/>
          <a:p>
            <a:r>
              <a:rPr lang="en" sz="1600" b="1">
                <a:solidFill>
                  <a:schemeClr val="bg1"/>
                </a:solidFill>
                <a:sym typeface="Helvetica Neue"/>
              </a:rPr>
              <a:t>Why This Matters</a:t>
            </a:r>
            <a:endParaRPr lang="en-US">
              <a:solidFill>
                <a:schemeClr val="bg1"/>
              </a:solidFill>
            </a:endParaRPr>
          </a:p>
        </p:txBody>
      </p:sp>
      <p:cxnSp>
        <p:nvCxnSpPr>
          <p:cNvPr id="11" name="Google Shape;889;p247">
            <a:extLst>
              <a:ext uri="{FF2B5EF4-FFF2-40B4-BE49-F238E27FC236}">
                <a16:creationId xmlns:a16="http://schemas.microsoft.com/office/drawing/2014/main" id="{58AC9B31-65E4-C67A-05EA-8177A8D63CA3}"/>
              </a:ext>
            </a:extLst>
          </p:cNvPr>
          <p:cNvCxnSpPr>
            <a:cxnSpLocks/>
          </p:cNvCxnSpPr>
          <p:nvPr/>
        </p:nvCxnSpPr>
        <p:spPr>
          <a:xfrm>
            <a:off x="7965790"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4" name="Google Shape;881;p247">
            <a:extLst>
              <a:ext uri="{FF2B5EF4-FFF2-40B4-BE49-F238E27FC236}">
                <a16:creationId xmlns:a16="http://schemas.microsoft.com/office/drawing/2014/main" id="{674B8D39-EBFD-5EE5-EB42-4C0E3BBEB98A}"/>
              </a:ext>
            </a:extLst>
          </p:cNvPr>
          <p:cNvSpPr txBox="1"/>
          <p:nvPr/>
        </p:nvSpPr>
        <p:spPr>
          <a:xfrm>
            <a:off x="560926" y="2268393"/>
            <a:ext cx="3526178" cy="3766841"/>
          </a:xfrm>
          <a:prstGeom prst="rect">
            <a:avLst/>
          </a:prstGeom>
          <a:noFill/>
          <a:ln>
            <a:noFill/>
          </a:ln>
        </p:spPr>
        <p:txBody>
          <a:bodyPr spcFirstLastPara="1" wrap="square" lIns="91440" tIns="91440" rIns="91440" bIns="91440" anchor="t" anchorCtr="0">
            <a:noAutofit/>
          </a:bodyPr>
          <a:lstStyle/>
          <a:p>
            <a:pPr marL="285750" indent="-285750">
              <a:buFont typeface="Arial"/>
              <a:buChar char="•"/>
            </a:pPr>
            <a:r>
              <a:rPr lang="en-US" sz="1400" b="1">
                <a:ea typeface="+mn-lt"/>
                <a:cs typeface="+mn-lt"/>
              </a:rPr>
              <a:t>Entity:</a:t>
            </a:r>
            <a:r>
              <a:rPr lang="en-US" sz="1400">
                <a:ea typeface="+mn-lt"/>
                <a:cs typeface="+mn-lt"/>
              </a:rPr>
              <a:t> Amerihost Services, LLC</a:t>
            </a:r>
            <a:endParaRPr lang="en-US" sz="1400"/>
          </a:p>
          <a:p>
            <a:pPr marL="285750" indent="-285750">
              <a:buFont typeface="Arial"/>
              <a:buChar char="•"/>
            </a:pPr>
            <a:r>
              <a:rPr lang="en-US" sz="1400" b="1">
                <a:ea typeface="+mn-lt"/>
                <a:cs typeface="+mn-lt"/>
              </a:rPr>
              <a:t>Excluded by EPA:</a:t>
            </a:r>
            <a:r>
              <a:rPr lang="en-US" sz="1400">
                <a:ea typeface="+mn-lt"/>
                <a:cs typeface="+mn-lt"/>
              </a:rPr>
              <a:t> September 8, 2021</a:t>
            </a:r>
            <a:endParaRPr lang="en-US"/>
          </a:p>
          <a:p>
            <a:pPr marL="285750" indent="-285750">
              <a:buFont typeface="Arial"/>
              <a:buChar char="•"/>
            </a:pPr>
            <a:r>
              <a:rPr lang="en-US" sz="1400" b="1">
                <a:ea typeface="+mn-lt"/>
                <a:cs typeface="+mn-lt"/>
              </a:rPr>
              <a:t>Problem:</a:t>
            </a:r>
            <a:r>
              <a:rPr lang="en-US" sz="1400">
                <a:ea typeface="+mn-lt"/>
                <a:cs typeface="+mn-lt"/>
              </a:rPr>
              <a:t> Despite the EPA ban, </a:t>
            </a:r>
            <a:r>
              <a:rPr lang="en-US" sz="1400" b="1">
                <a:ea typeface="+mn-lt"/>
                <a:cs typeface="+mn-lt"/>
              </a:rPr>
              <a:t>HUD continued paying the entity</a:t>
            </a:r>
            <a:r>
              <a:rPr lang="en-US" sz="1400">
                <a:ea typeface="+mn-lt"/>
                <a:cs typeface="+mn-lt"/>
              </a:rPr>
              <a:t> for housing-related awards in FY2022–FY2024.</a:t>
            </a:r>
            <a:endParaRPr lang="en-US" sz="1400"/>
          </a:p>
          <a:p>
            <a:pPr marL="285750" indent="-285750">
              <a:buFont typeface="Arial"/>
              <a:buChar char="•"/>
            </a:pPr>
            <a:r>
              <a:rPr lang="en-US" sz="1400">
                <a:ea typeface="Helvetica Neue"/>
                <a:cs typeface="Helvetica Neue"/>
              </a:rPr>
              <a:t>Entity had no Single Audit</a:t>
            </a:r>
          </a:p>
          <a:p>
            <a:pPr>
              <a:lnSpc>
                <a:spcPct val="90000"/>
              </a:lnSpc>
              <a:spcAft>
                <a:spcPts val="600"/>
              </a:spcAft>
              <a:buSzPts val="1100"/>
            </a:pPr>
            <a:endParaRPr lang="en-US" sz="1400">
              <a:ea typeface="Helvetica Neue"/>
              <a:cs typeface="Helvetica Neue"/>
            </a:endParaRPr>
          </a:p>
        </p:txBody>
      </p:sp>
      <p:sp>
        <p:nvSpPr>
          <p:cNvPr id="15" name="Google Shape;882;p247">
            <a:extLst>
              <a:ext uri="{FF2B5EF4-FFF2-40B4-BE49-F238E27FC236}">
                <a16:creationId xmlns:a16="http://schemas.microsoft.com/office/drawing/2014/main" id="{C9CD5679-4377-E44B-6A37-8D3941B40A60}"/>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r>
              <a:rPr lang="en-US" sz="1400" b="1">
                <a:ea typeface="+mn-lt"/>
                <a:cs typeface="+mn-lt"/>
              </a:rPr>
              <a:t>2 CFR § 180.100</a:t>
            </a:r>
            <a:r>
              <a:rPr lang="en-US" sz="1400">
                <a:ea typeface="+mn-lt"/>
                <a:cs typeface="+mn-lt"/>
              </a:rPr>
              <a:t>: Federal exclusions are </a:t>
            </a:r>
            <a:r>
              <a:rPr lang="en-US" sz="1400" b="1">
                <a:ea typeface="+mn-lt"/>
                <a:cs typeface="+mn-lt"/>
              </a:rPr>
              <a:t>binding across all agencies</a:t>
            </a:r>
            <a:r>
              <a:rPr lang="en-US" sz="1400">
                <a:ea typeface="+mn-lt"/>
                <a:cs typeface="+mn-lt"/>
              </a:rPr>
              <a:t>.</a:t>
            </a:r>
            <a:endParaRPr lang="en-US"/>
          </a:p>
          <a:p>
            <a:pPr marL="285750" indent="-285750">
              <a:buFont typeface="Arial"/>
              <a:buChar char="•"/>
            </a:pPr>
            <a:r>
              <a:rPr lang="en-US" sz="1400">
                <a:ea typeface="+mn-lt"/>
                <a:cs typeface="+mn-lt"/>
              </a:rPr>
              <a:t>An exclusion by </a:t>
            </a:r>
            <a:r>
              <a:rPr lang="en-US" sz="1400" b="1">
                <a:ea typeface="+mn-lt"/>
                <a:cs typeface="+mn-lt"/>
              </a:rPr>
              <a:t>one agency (EPA)</a:t>
            </a:r>
            <a:r>
              <a:rPr lang="en-US" sz="1400">
                <a:ea typeface="+mn-lt"/>
                <a:cs typeface="+mn-lt"/>
              </a:rPr>
              <a:t> automatically applies to </a:t>
            </a:r>
            <a:r>
              <a:rPr lang="en-US" sz="1400" b="1">
                <a:ea typeface="+mn-lt"/>
                <a:cs typeface="+mn-lt"/>
              </a:rPr>
              <a:t>all other federal agencies</a:t>
            </a:r>
            <a:r>
              <a:rPr lang="en-US" sz="1400">
                <a:ea typeface="+mn-lt"/>
                <a:cs typeface="+mn-lt"/>
              </a:rPr>
              <a:t>, including HUD.</a:t>
            </a:r>
            <a:endParaRPr lang="en-US"/>
          </a:p>
          <a:p>
            <a:pPr marL="285750" indent="-285750">
              <a:buFont typeface="Arial"/>
              <a:buChar char="•"/>
            </a:pPr>
            <a:r>
              <a:rPr lang="en-US" sz="1400">
                <a:ea typeface="+mn-lt"/>
                <a:cs typeface="+mn-lt"/>
              </a:rPr>
              <a:t>This is known as </a:t>
            </a:r>
            <a:r>
              <a:rPr lang="en-US" sz="1400" b="1">
                <a:ea typeface="+mn-lt"/>
                <a:cs typeface="+mn-lt"/>
              </a:rPr>
              <a:t>government-wide reciprocal effect</a:t>
            </a:r>
            <a:r>
              <a:rPr lang="en-US" sz="1400">
                <a:ea typeface="+mn-lt"/>
                <a:cs typeface="+mn-lt"/>
              </a:rPr>
              <a:t>.</a:t>
            </a:r>
            <a:endParaRPr lang="en-US" sz="1400"/>
          </a:p>
          <a:p>
            <a:r>
              <a:rPr lang="en-US" sz="1400" b="1">
                <a:ea typeface="+mn-lt"/>
                <a:cs typeface="+mn-lt"/>
              </a:rPr>
              <a:t>2 CFR § 180.415(b)</a:t>
            </a:r>
            <a:endParaRPr lang="en-US" b="1"/>
          </a:p>
          <a:p>
            <a:pPr marL="285750" indent="-285750">
              <a:buFont typeface="Arial"/>
              <a:buChar char="•"/>
            </a:pPr>
            <a:r>
              <a:rPr lang="en-US" sz="1400">
                <a:ea typeface="+mn-lt"/>
                <a:cs typeface="+mn-lt"/>
              </a:rPr>
              <a:t>Agencies </a:t>
            </a:r>
            <a:r>
              <a:rPr lang="en-US" sz="1400" b="1">
                <a:ea typeface="+mn-lt"/>
                <a:cs typeface="+mn-lt"/>
              </a:rPr>
              <a:t>cannot renew or extend transactions</a:t>
            </a:r>
            <a:r>
              <a:rPr lang="en-US" sz="1400">
                <a:ea typeface="+mn-lt"/>
                <a:cs typeface="+mn-lt"/>
              </a:rPr>
              <a:t> with an excluded entity unless an exception is documented.</a:t>
            </a:r>
            <a:endParaRPr lang="en-US"/>
          </a:p>
          <a:p>
            <a:pPr marL="285750" indent="-285750">
              <a:buFont typeface="Arial"/>
              <a:buChar char="•"/>
            </a:pPr>
            <a:r>
              <a:rPr lang="en-US" sz="1400">
                <a:ea typeface="+mn-lt"/>
                <a:cs typeface="+mn-lt"/>
              </a:rPr>
              <a:t>15 payments over FY2022–FY2024 (5 per year) </a:t>
            </a:r>
            <a:r>
              <a:rPr lang="en-US" sz="1400" b="1">
                <a:ea typeface="+mn-lt"/>
                <a:cs typeface="+mn-lt"/>
              </a:rPr>
              <a:t>constitute renewals or extensions</a:t>
            </a:r>
            <a:r>
              <a:rPr lang="en-US" sz="1400">
                <a:ea typeface="+mn-lt"/>
                <a:cs typeface="+mn-lt"/>
              </a:rPr>
              <a:t>, prohibited without an exception.</a:t>
            </a:r>
            <a:endParaRPr lang="en-US"/>
          </a:p>
          <a:p>
            <a:endParaRPr lang="en-US" sz="1400">
              <a:ea typeface="Helvetica Neue"/>
              <a:cs typeface="Helvetica Neue"/>
            </a:endParaRPr>
          </a:p>
          <a:p>
            <a:pPr>
              <a:spcAft>
                <a:spcPts val="600"/>
              </a:spcAft>
            </a:pPr>
            <a:endParaRPr lang="en-US" sz="1400">
              <a:ea typeface="Helvetica Neue"/>
              <a:cs typeface="Helvetica Neue"/>
            </a:endParaRPr>
          </a:p>
        </p:txBody>
      </p:sp>
      <p:sp>
        <p:nvSpPr>
          <p:cNvPr id="16" name="Google Shape;883;p247">
            <a:extLst>
              <a:ext uri="{FF2B5EF4-FFF2-40B4-BE49-F238E27FC236}">
                <a16:creationId xmlns:a16="http://schemas.microsoft.com/office/drawing/2014/main" id="{BBA673B9-77C3-00DC-C42E-2F91854ACEC7}"/>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85750" indent="-285750">
              <a:buFont typeface="Arial"/>
              <a:buChar char="•"/>
            </a:pPr>
            <a:r>
              <a:rPr lang="en" sz="1400">
                <a:ea typeface="+mn-lt"/>
                <a:cs typeface="+mn-lt"/>
              </a:rPr>
              <a:t>HUD paid $759,584 over 15 payments to a legally excluded entity. </a:t>
            </a:r>
          </a:p>
          <a:p>
            <a:pPr marL="285750" indent="-285750">
              <a:buFont typeface="Arial"/>
              <a:buChar char="•"/>
            </a:pPr>
            <a:r>
              <a:rPr lang="en" sz="1400">
                <a:ea typeface="+mn-lt"/>
                <a:cs typeface="+mn-lt"/>
              </a:rPr>
              <a:t>Cross-agency enforcement gaps</a:t>
            </a:r>
            <a:endParaRPr lang="en-US"/>
          </a:p>
          <a:p>
            <a:pPr marL="285750" indent="-285750">
              <a:buFont typeface="Arial"/>
              <a:buChar char="•"/>
            </a:pPr>
            <a:r>
              <a:rPr lang="en" sz="1400">
                <a:ea typeface="+mn-lt"/>
                <a:cs typeface="+mn-lt"/>
              </a:rPr>
              <a:t>Lack of automated screening for exclusions</a:t>
            </a:r>
            <a:endParaRPr lang="en"/>
          </a:p>
          <a:p>
            <a:pPr marL="285750" indent="-285750">
              <a:buFont typeface="Arial"/>
              <a:buChar char="•"/>
            </a:pPr>
            <a:r>
              <a:rPr lang="en" sz="1400">
                <a:ea typeface="+mn-lt"/>
                <a:cs typeface="+mn-lt"/>
              </a:rPr>
              <a:t>Direct legal violations of federal regulations</a:t>
            </a:r>
            <a:endParaRPr lang="en"/>
          </a:p>
          <a:p>
            <a:pPr>
              <a:spcAft>
                <a:spcPts val="600"/>
              </a:spcAft>
            </a:pPr>
            <a:endParaRPr lang="en" sz="1400">
              <a:ea typeface="Helvetica Neue"/>
              <a:cs typeface="Helvetica Neue"/>
            </a:endParaRPr>
          </a:p>
        </p:txBody>
      </p:sp>
      <p:cxnSp>
        <p:nvCxnSpPr>
          <p:cNvPr id="18" name="Google Shape;885;p247">
            <a:extLst>
              <a:ext uri="{FF2B5EF4-FFF2-40B4-BE49-F238E27FC236}">
                <a16:creationId xmlns:a16="http://schemas.microsoft.com/office/drawing/2014/main" id="{B9D288D1-FD38-41A2-9B75-561BBFA84CDB}"/>
              </a:ext>
            </a:extLst>
          </p:cNvPr>
          <p:cNvCxnSpPr>
            <a:cxnSpLocks/>
          </p:cNvCxnSpPr>
          <p:nvPr/>
        </p:nvCxnSpPr>
        <p:spPr>
          <a:xfrm>
            <a:off x="4196319"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22" name="Google Shape;934;p251">
            <a:extLst>
              <a:ext uri="{FF2B5EF4-FFF2-40B4-BE49-F238E27FC236}">
                <a16:creationId xmlns:a16="http://schemas.microsoft.com/office/drawing/2014/main" id="{33B2D3C2-3F13-D681-F4AD-7F9EF19E18C0}"/>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58B89542-8F01-2DE0-D41B-5247FA3C07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3" name="TextBox 4">
            <a:extLst>
              <a:ext uri="{FF2B5EF4-FFF2-40B4-BE49-F238E27FC236}">
                <a16:creationId xmlns:a16="http://schemas.microsoft.com/office/drawing/2014/main" id="{3B0136D7-1DB7-7D6B-2527-227A816FEDA1}"/>
              </a:ext>
            </a:extLst>
          </p:cNvPr>
          <p:cNvSpPr txBox="1"/>
          <p:nvPr/>
        </p:nvSpPr>
        <p:spPr>
          <a:xfrm>
            <a:off x="621533" y="916744"/>
            <a:ext cx="7147415"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Cross-Agency Communication Failure</a:t>
            </a:r>
          </a:p>
          <a:p>
            <a:endParaRPr lang="en-US" sz="1400">
              <a:solidFill>
                <a:srgbClr val="000000"/>
              </a:solidFill>
            </a:endParaRPr>
          </a:p>
        </p:txBody>
      </p:sp>
      <p:grpSp>
        <p:nvGrpSpPr>
          <p:cNvPr id="3" name="Group 2">
            <a:extLst>
              <a:ext uri="{FF2B5EF4-FFF2-40B4-BE49-F238E27FC236}">
                <a16:creationId xmlns:a16="http://schemas.microsoft.com/office/drawing/2014/main" id="{F4198FB1-0EB4-41A4-2478-23B800CE2E53}"/>
              </a:ext>
            </a:extLst>
          </p:cNvPr>
          <p:cNvGrpSpPr/>
          <p:nvPr/>
        </p:nvGrpSpPr>
        <p:grpSpPr>
          <a:xfrm>
            <a:off x="743838" y="4454230"/>
            <a:ext cx="3156532" cy="1191232"/>
            <a:chOff x="650149" y="3885853"/>
            <a:chExt cx="3156532" cy="1191232"/>
          </a:xfrm>
        </p:grpSpPr>
        <p:sp>
          <p:nvSpPr>
            <p:cNvPr id="10" name="Rectangle: Rounded Corners 9">
              <a:extLst>
                <a:ext uri="{FF2B5EF4-FFF2-40B4-BE49-F238E27FC236}">
                  <a16:creationId xmlns:a16="http://schemas.microsoft.com/office/drawing/2014/main" id="{924BCA6E-FEC6-FDDC-B438-2BE58B63045B}"/>
                </a:ext>
              </a:extLst>
            </p:cNvPr>
            <p:cNvSpPr/>
            <p:nvPr/>
          </p:nvSpPr>
          <p:spPr>
            <a:xfrm>
              <a:off x="650149" y="3885853"/>
              <a:ext cx="3156532" cy="11912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oogle Shape;934;p251">
              <a:extLst>
                <a:ext uri="{FF2B5EF4-FFF2-40B4-BE49-F238E27FC236}">
                  <a16:creationId xmlns:a16="http://schemas.microsoft.com/office/drawing/2014/main" id="{2BBCB55B-BD9C-F472-2BF6-802D14283B87}"/>
                </a:ext>
              </a:extLst>
            </p:cNvPr>
            <p:cNvSpPr/>
            <p:nvPr/>
          </p:nvSpPr>
          <p:spPr>
            <a:xfrm>
              <a:off x="949298" y="3965030"/>
              <a:ext cx="2563052" cy="1031394"/>
            </a:xfrm>
            <a:prstGeom prst="rect">
              <a:avLst/>
            </a:prstGeom>
            <a:noFill/>
            <a:ln>
              <a:noFill/>
            </a:ln>
          </p:spPr>
          <p:txBody>
            <a:bodyPr spcFirstLastPara="1" wrap="square" lIns="91433" tIns="45700" rIns="91433" bIns="45700" anchor="ctr" anchorCtr="0">
              <a:noAutofit/>
            </a:bodyPr>
            <a:lstStyle/>
            <a:p>
              <a:pPr algn="ctr"/>
              <a:r>
                <a:rPr lang="en-US" sz="1400">
                  <a:solidFill>
                    <a:schemeClr val="bg1"/>
                  </a:solidFill>
                  <a:ea typeface="+mn-lt"/>
                  <a:cs typeface="+mn-lt"/>
                  <a:sym typeface="Helvetica Neue"/>
                </a:rPr>
                <a:t>HUD paid a </a:t>
              </a:r>
              <a:r>
                <a:rPr lang="en-US" sz="1400" b="1">
                  <a:solidFill>
                    <a:schemeClr val="bg1"/>
                  </a:solidFill>
                  <a:ea typeface="+mn-lt"/>
                  <a:cs typeface="+mn-lt"/>
                  <a:sym typeface="Helvetica Neue"/>
                </a:rPr>
                <a:t>legally excluded entity</a:t>
              </a:r>
              <a:r>
                <a:rPr lang="en-US" sz="1400">
                  <a:solidFill>
                    <a:schemeClr val="bg1"/>
                  </a:solidFill>
                  <a:ea typeface="+mn-lt"/>
                  <a:cs typeface="+mn-lt"/>
                  <a:sym typeface="Helvetica Neue"/>
                </a:rPr>
                <a:t>, creating a </a:t>
              </a:r>
              <a:r>
                <a:rPr lang="en-US" sz="1400" b="1">
                  <a:solidFill>
                    <a:schemeClr val="bg1"/>
                  </a:solidFill>
                  <a:ea typeface="+mn-lt"/>
                  <a:cs typeface="+mn-lt"/>
                  <a:sym typeface="Helvetica Neue"/>
                </a:rPr>
                <a:t>cross-agency compliance failure</a:t>
              </a:r>
              <a:r>
                <a:rPr lang="en-US" sz="1400">
                  <a:solidFill>
                    <a:schemeClr val="bg1"/>
                  </a:solidFill>
                  <a:ea typeface="+mn-lt"/>
                  <a:cs typeface="+mn-lt"/>
                  <a:sym typeface="Helvetica Neue"/>
                </a:rPr>
                <a:t>.</a:t>
              </a:r>
              <a:endParaRPr lang="en-US" sz="1400">
                <a:solidFill>
                  <a:schemeClr val="bg1"/>
                </a:solidFill>
              </a:endParaRPr>
            </a:p>
          </p:txBody>
        </p:sp>
      </p:grpSp>
      <p:sp>
        <p:nvSpPr>
          <p:cNvPr id="23" name="Google Shape;507;p14">
            <a:extLst>
              <a:ext uri="{FF2B5EF4-FFF2-40B4-BE49-F238E27FC236}">
                <a16:creationId xmlns:a16="http://schemas.microsoft.com/office/drawing/2014/main" id="{38A7E6E9-EC8A-4CF5-B60E-7680F66CDEE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SAM.gov Public Extract 25361 (Dec 27, 2025) | USAspending.gov (FY2019-2024) | 2 CFR § 180.100, § 180.415(b)</a:t>
            </a:r>
            <a:endParaRPr lang="en-US">
              <a:ea typeface="+mn-lt"/>
              <a:cs typeface="+mn-lt"/>
            </a:endParaRPr>
          </a:p>
        </p:txBody>
      </p:sp>
    </p:spTree>
    <p:extLst>
      <p:ext uri="{BB962C8B-B14F-4D97-AF65-F5344CB8AC3E}">
        <p14:creationId xmlns:p14="http://schemas.microsoft.com/office/powerpoint/2010/main" val="3176373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98635"/>
            <a:ext cx="11082528" cy="731520"/>
          </a:xfrm>
        </p:spPr>
        <p:txBody>
          <a:bodyPr vert="horz"/>
          <a:lstStyle/>
          <a:p>
            <a:r>
              <a:rPr lang="en-GB" sz="4000">
                <a:highlight>
                  <a:srgbClr val="FFFFFF"/>
                </a:highlight>
              </a:rPr>
              <a:t>Predicting Audit Findings (Entity-Year Risk Model)</a:t>
            </a:r>
            <a:endParaRPr lang="en-US" sz="4000"/>
          </a:p>
        </p:txBody>
      </p:sp>
      <p:sp>
        <p:nvSpPr>
          <p:cNvPr id="22" name="Subtitle 21">
            <a:extLst>
              <a:ext uri="{FF2B5EF4-FFF2-40B4-BE49-F238E27FC236}">
                <a16:creationId xmlns:a16="http://schemas.microsoft.com/office/drawing/2014/main" id="{F81DCD60-FEBA-834A-3C6D-1EC985A3419A}"/>
              </a:ext>
            </a:extLst>
          </p:cNvPr>
          <p:cNvSpPr>
            <a:spLocks noGrp="1"/>
          </p:cNvSpPr>
          <p:nvPr>
            <p:ph type="subTitle" idx="1"/>
          </p:nvPr>
        </p:nvSpPr>
        <p:spPr/>
        <p:txBody>
          <a:bodyPr vert="horz" wrap="square" lIns="91440" tIns="45720" rIns="91440" bIns="45720" rtlCol="0" anchor="t">
            <a:noAutofit/>
          </a:bodyPr>
          <a:lstStyle/>
          <a:p>
            <a:r>
              <a:rPr lang="en-US">
                <a:ea typeface="+mn-lt"/>
                <a:cs typeface="+mn-lt"/>
              </a:rPr>
              <a:t>Predict whether a federal grant recipient will have </a:t>
            </a:r>
            <a:r>
              <a:rPr lang="en-US" b="1">
                <a:ea typeface="+mn-lt"/>
                <a:cs typeface="+mn-lt"/>
              </a:rPr>
              <a:t>audit findings next year</a:t>
            </a:r>
            <a:r>
              <a:rPr lang="en-US">
                <a:ea typeface="+mn-lt"/>
                <a:cs typeface="+mn-lt"/>
              </a:rPr>
              <a:t> using prior-year audit + funding characteristics to support risk oversight.</a:t>
            </a:r>
            <a:endParaRPr lang="en-US"/>
          </a:p>
          <a:p>
            <a:endParaRPr lang="en-US"/>
          </a:p>
        </p:txBody>
      </p:sp>
      <p:sp>
        <p:nvSpPr>
          <p:cNvPr id="23" name="Text Placeholder 22">
            <a:extLst>
              <a:ext uri="{FF2B5EF4-FFF2-40B4-BE49-F238E27FC236}">
                <a16:creationId xmlns:a16="http://schemas.microsoft.com/office/drawing/2014/main" id="{0C6CABE1-B7B5-1486-E1F5-20E0C5A7D1A6}"/>
              </a:ext>
            </a:extLst>
          </p:cNvPr>
          <p:cNvSpPr>
            <a:spLocks noGrp="1"/>
          </p:cNvSpPr>
          <p:nvPr>
            <p:ph type="body" sz="quarter" idx="17"/>
          </p:nvPr>
        </p:nvSpPr>
        <p:spPr>
          <a:xfrm>
            <a:off x="12492446" y="2120"/>
            <a:ext cx="4050646" cy="203838"/>
          </a:xfrm>
        </p:spPr>
        <p:txBody>
          <a:bodyPr/>
          <a:lstStyle/>
          <a:p>
            <a:pPr marL="0" indent="0">
              <a:buNone/>
            </a:pPr>
            <a:endParaRPr lang="en-US"/>
          </a:p>
        </p:txBody>
      </p:sp>
      <p:sp>
        <p:nvSpPr>
          <p:cNvPr id="4" name="Rektangel 14">
            <a:extLst>
              <a:ext uri="{FF2B5EF4-FFF2-40B4-BE49-F238E27FC236}">
                <a16:creationId xmlns:a16="http://schemas.microsoft.com/office/drawing/2014/main" id="{F8E7B906-0D62-1767-9DAC-DD2B4A4E792C}"/>
              </a:ext>
            </a:extLst>
          </p:cNvPr>
          <p:cNvSpPr/>
          <p:nvPr/>
        </p:nvSpPr>
        <p:spPr>
          <a:xfrm>
            <a:off x="554736" y="2792957"/>
            <a:ext cx="3290381" cy="32900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buFont typeface="Segoe UI" panose="020B0502040204020203" pitchFamily="34" charset="0"/>
              <a:buChar char="​"/>
              <a:defRPr/>
            </a:pPr>
            <a:r>
              <a:rPr lang="en-US" sz="1600" b="1">
                <a:solidFill>
                  <a:schemeClr val="tx1"/>
                </a:solidFill>
                <a:cs typeface="Arial"/>
              </a:rPr>
              <a:t>Algorithm: </a:t>
            </a:r>
            <a:r>
              <a:rPr lang="en-US" sz="1600" err="1">
                <a:solidFill>
                  <a:schemeClr val="tx1"/>
                </a:solidFill>
                <a:ea typeface="+mn-lt"/>
                <a:cs typeface="+mn-lt"/>
              </a:rPr>
              <a:t>HistGradientBoosting</a:t>
            </a:r>
            <a:r>
              <a:rPr lang="en-US" sz="1600">
                <a:solidFill>
                  <a:schemeClr val="tx1"/>
                </a:solidFill>
                <a:ea typeface="+mn-lt"/>
                <a:cs typeface="+mn-lt"/>
              </a:rPr>
              <a:t> (HGB) classifier</a:t>
            </a:r>
          </a:p>
          <a:p>
            <a:pPr>
              <a:buFont typeface="Segoe UI" panose="020B0502040204020203" pitchFamily="34" charset="0"/>
              <a:buChar char="​"/>
              <a:defRPr/>
            </a:pPr>
            <a:endParaRPr lang="en-US" sz="1600">
              <a:solidFill>
                <a:schemeClr val="tx1"/>
              </a:solidFill>
              <a:cs typeface="Arial" panose="020B0604020202020204" pitchFamily="34" charset="0"/>
            </a:endParaRPr>
          </a:p>
          <a:p>
            <a:pPr>
              <a:buFont typeface="Segoe UI" panose="020B0502040204020203" pitchFamily="34" charset="0"/>
              <a:buChar char="​"/>
              <a:defRPr/>
            </a:pPr>
            <a:r>
              <a:rPr lang="en-US" sz="1600" b="1">
                <a:solidFill>
                  <a:schemeClr val="tx1"/>
                </a:solidFill>
                <a:cs typeface="Arial"/>
              </a:rPr>
              <a:t>Unit of Prediction: </a:t>
            </a:r>
            <a:r>
              <a:rPr lang="en-US" sz="1600">
                <a:solidFill>
                  <a:schemeClr val="tx1"/>
                </a:solidFill>
                <a:ea typeface="+mn-lt"/>
                <a:cs typeface="+mn-lt"/>
              </a:rPr>
              <a:t>Entity-year (recipient in year t → predicts findings in t+1)</a:t>
            </a:r>
          </a:p>
          <a:p>
            <a:pPr>
              <a:buFont typeface="Segoe UI" panose="020B0502040204020203" pitchFamily="34" charset="0"/>
              <a:buChar char="​"/>
              <a:defRPr/>
            </a:pPr>
            <a:endParaRPr lang="en-US" sz="1600">
              <a:solidFill>
                <a:schemeClr val="tx1"/>
              </a:solidFill>
              <a:cs typeface="Arial" panose="020B0604020202020204" pitchFamily="34" charset="0"/>
            </a:endParaRPr>
          </a:p>
          <a:p>
            <a:pPr>
              <a:defRPr/>
            </a:pPr>
            <a:r>
              <a:rPr lang="en-US" sz="1600" b="1">
                <a:solidFill>
                  <a:schemeClr val="tx1"/>
                </a:solidFill>
                <a:ea typeface="+mn-lt"/>
                <a:cs typeface="+mn-lt"/>
              </a:rPr>
              <a:t>Inputs:</a:t>
            </a:r>
            <a:r>
              <a:rPr lang="en-US" sz="1600">
                <a:solidFill>
                  <a:schemeClr val="tx1"/>
                </a:solidFill>
                <a:ea typeface="+mn-lt"/>
                <a:cs typeface="+mn-lt"/>
              </a:rPr>
              <a:t> prior findings indicators/counts, award line counts, funding totals/mix, program &amp; agency diversity</a:t>
            </a:r>
            <a:endParaRPr lang="en-US" sz="1600">
              <a:solidFill>
                <a:schemeClr val="tx1"/>
              </a:solidFill>
              <a:cs typeface="Arial" panose="020B0604020202020204" pitchFamily="34" charset="0"/>
            </a:endParaRPr>
          </a:p>
          <a:p>
            <a:pPr>
              <a:buFont typeface="Segoe UI" panose="020B0502040204020203" pitchFamily="34" charset="0"/>
              <a:buChar char="​"/>
              <a:defRPr/>
            </a:pPr>
            <a:endParaRPr lang="en-US" sz="1600">
              <a:solidFill>
                <a:schemeClr val="tx1"/>
              </a:solidFill>
              <a:cs typeface="Arial" panose="020B0604020202020204" pitchFamily="34" charset="0"/>
            </a:endParaRPr>
          </a:p>
        </p:txBody>
      </p:sp>
      <p:sp>
        <p:nvSpPr>
          <p:cNvPr id="7" name="Rectangle 14">
            <a:extLst>
              <a:ext uri="{FF2B5EF4-FFF2-40B4-BE49-F238E27FC236}">
                <a16:creationId xmlns:a16="http://schemas.microsoft.com/office/drawing/2014/main" id="{7E1DD2C1-0853-E427-B656-C8FDB4DA7F0A}"/>
              </a:ext>
            </a:extLst>
          </p:cNvPr>
          <p:cNvSpPr>
            <a:spLocks noChangeArrowheads="1"/>
          </p:cNvSpPr>
          <p:nvPr/>
        </p:nvSpPr>
        <p:spPr bwMode="auto">
          <a:xfrm>
            <a:off x="554736" y="2146845"/>
            <a:ext cx="3291668" cy="548640"/>
          </a:xfrm>
          <a:prstGeom prst="rect">
            <a:avLst/>
          </a:prstGeom>
          <a:solidFill>
            <a:schemeClr val="accent1"/>
          </a:solidFill>
          <a:ln w="12700">
            <a:noFill/>
            <a:miter lim="800000"/>
            <a:headEnd/>
            <a:tailEnd/>
          </a:ln>
          <a:effectLst/>
        </p:spPr>
        <p:txBody>
          <a:bodyPr wrap="none" lIns="91440" tIns="74094" rIns="91440" bIns="74094" anchor="ctr"/>
          <a:lstStyle/>
          <a:p>
            <a:pPr algn="ctr"/>
            <a:r>
              <a:rPr lang="en-GB" sz="1600" b="1">
                <a:solidFill>
                  <a:schemeClr val="bg1"/>
                </a:solidFill>
              </a:rPr>
              <a:t>Model</a:t>
            </a:r>
            <a:endParaRPr lang="en-US"/>
          </a:p>
        </p:txBody>
      </p:sp>
      <p:sp>
        <p:nvSpPr>
          <p:cNvPr id="9" name="Rektangel 14">
            <a:extLst>
              <a:ext uri="{FF2B5EF4-FFF2-40B4-BE49-F238E27FC236}">
                <a16:creationId xmlns:a16="http://schemas.microsoft.com/office/drawing/2014/main" id="{BF4DF09B-DF25-6BCE-A55D-9E6A3EA5277F}"/>
              </a:ext>
            </a:extLst>
          </p:cNvPr>
          <p:cNvSpPr/>
          <p:nvPr/>
        </p:nvSpPr>
        <p:spPr>
          <a:xfrm>
            <a:off x="3969232" y="2792957"/>
            <a:ext cx="3285422" cy="690812"/>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buFont typeface="Segoe UI" panose="020B0502040204020203" pitchFamily="34" charset="0"/>
              <a:buChar char="​"/>
              <a:defRPr/>
            </a:pPr>
            <a:r>
              <a:rPr lang="en-US" sz="1600" b="1">
                <a:solidFill>
                  <a:schemeClr val="tx1"/>
                </a:solidFill>
                <a:ea typeface="+mn-lt"/>
                <a:cs typeface="+mn-lt"/>
              </a:rPr>
              <a:t>ROC-AUC:</a:t>
            </a:r>
            <a:r>
              <a:rPr lang="en-US" sz="1600">
                <a:solidFill>
                  <a:schemeClr val="tx1"/>
                </a:solidFill>
                <a:ea typeface="+mn-lt"/>
                <a:cs typeface="+mn-lt"/>
              </a:rPr>
              <a:t> 0.7656</a:t>
            </a:r>
            <a:endParaRPr lang="en-US" sz="1600" b="1">
              <a:solidFill>
                <a:schemeClr val="tx1"/>
              </a:solidFill>
              <a:ea typeface="+mn-lt"/>
              <a:cs typeface="Arial" panose="020B0604020202020204" pitchFamily="34" charset="0"/>
            </a:endParaRPr>
          </a:p>
          <a:p>
            <a:pPr>
              <a:defRPr/>
            </a:pPr>
            <a:r>
              <a:rPr lang="en-US" sz="1600" b="1">
                <a:solidFill>
                  <a:schemeClr val="tx1"/>
                </a:solidFill>
                <a:ea typeface="+mn-lt"/>
                <a:cs typeface="+mn-lt"/>
              </a:rPr>
              <a:t>PR-AUC:</a:t>
            </a:r>
            <a:r>
              <a:rPr lang="en-US" sz="1600">
                <a:solidFill>
                  <a:schemeClr val="tx1"/>
                </a:solidFill>
                <a:ea typeface="+mn-lt"/>
                <a:cs typeface="+mn-lt"/>
              </a:rPr>
              <a:t> 0.5439</a:t>
            </a:r>
            <a:br>
              <a:rPr lang="en-US" sz="1600" b="1" i="0" u="none" strike="noStrike" kern="1200" cap="none" spc="0" normalizeH="0" baseline="0" noProof="0">
                <a:ln>
                  <a:noFill/>
                </a:ln>
                <a:effectLst/>
                <a:uLnTx/>
                <a:uFillTx/>
                <a:cs typeface="Arial" panose="020B0604020202020204" pitchFamily="34" charset="0"/>
              </a:rPr>
            </a:br>
            <a:endParaRPr lang="en-US" sz="1600" b="1" i="0" u="none" strike="noStrike" kern="1200" cap="none" spc="0" normalizeH="0" baseline="0" noProof="0">
              <a:ln>
                <a:noFill/>
              </a:ln>
              <a:solidFill>
                <a:schemeClr val="tx1"/>
              </a:solidFill>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buClrTx/>
              <a:buSzTx/>
              <a:tabLst/>
              <a:defRPr/>
            </a:pPr>
            <a:endParaRPr lang="en-US" sz="1600" b="0" i="0" u="none" strike="noStrike" kern="1200" cap="none" spc="0" normalizeH="0" baseline="0" noProof="0">
              <a:ln>
                <a:noFill/>
              </a:ln>
              <a:solidFill>
                <a:schemeClr val="tx1"/>
              </a:solidFill>
              <a:effectLst/>
              <a:uLnTx/>
              <a:uFillTx/>
              <a:cs typeface="Arial" panose="020B0604020202020204" pitchFamily="34" charset="0"/>
            </a:endParaRPr>
          </a:p>
        </p:txBody>
      </p:sp>
      <p:sp>
        <p:nvSpPr>
          <p:cNvPr id="10" name="Rectangle 14">
            <a:extLst>
              <a:ext uri="{FF2B5EF4-FFF2-40B4-BE49-F238E27FC236}">
                <a16:creationId xmlns:a16="http://schemas.microsoft.com/office/drawing/2014/main" id="{0C0193DA-89A6-9DA5-87B0-43F16C140617}"/>
              </a:ext>
            </a:extLst>
          </p:cNvPr>
          <p:cNvSpPr>
            <a:spLocks noChangeArrowheads="1"/>
          </p:cNvSpPr>
          <p:nvPr/>
        </p:nvSpPr>
        <p:spPr bwMode="auto">
          <a:xfrm>
            <a:off x="3969232" y="2146845"/>
            <a:ext cx="3285422" cy="548640"/>
          </a:xfrm>
          <a:prstGeom prst="rect">
            <a:avLst/>
          </a:prstGeom>
          <a:solidFill>
            <a:schemeClr val="accent1"/>
          </a:solidFill>
          <a:ln w="12700">
            <a:noFill/>
            <a:miter lim="800000"/>
            <a:headEnd/>
            <a:tailEnd/>
          </a:ln>
          <a:effectLst/>
        </p:spPr>
        <p:txBody>
          <a:bodyPr wrap="none" lIns="91440" tIns="74094" rIns="91440" bIns="74094" anchor="ctr"/>
          <a:lstStyle/>
          <a:p>
            <a:pPr algn="ctr"/>
            <a:r>
              <a:rPr lang="en-GB" sz="1600" b="1">
                <a:solidFill>
                  <a:schemeClr val="bg1"/>
                </a:solidFill>
                <a:ea typeface="+mn-lt"/>
                <a:cs typeface="+mn-lt"/>
              </a:rPr>
              <a:t>Performance</a:t>
            </a:r>
            <a:endParaRPr lang="en-US" b="1">
              <a:solidFill>
                <a:schemeClr val="bg1"/>
              </a:solidFill>
            </a:endParaRPr>
          </a:p>
        </p:txBody>
      </p:sp>
      <p:sp>
        <p:nvSpPr>
          <p:cNvPr id="3" name="Google Shape;507;p14">
            <a:extLst>
              <a:ext uri="{FF2B5EF4-FFF2-40B4-BE49-F238E27FC236}">
                <a16:creationId xmlns:a16="http://schemas.microsoft.com/office/drawing/2014/main" id="{9FA87685-B87C-6941-0844-FC0F401FF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a:buClr>
                <a:srgbClr val="062032"/>
              </a:buClr>
              <a:buSzPts val="900"/>
              <a:defRPr/>
            </a:pPr>
            <a:r>
              <a:rPr kumimoji="0" lang="en-GB" sz="900" b="0" i="0" u="none" strike="noStrike" kern="0" cap="none" spc="0" normalizeH="0" baseline="0" noProof="0">
                <a:ln>
                  <a:noFill/>
                </a:ln>
                <a:effectLst/>
                <a:uLnTx/>
                <a:uFillTx/>
                <a:latin typeface="Arial"/>
                <a:ea typeface="Arial"/>
                <a:cs typeface="Arial"/>
                <a:sym typeface="Arial"/>
              </a:rPr>
              <a:t>Source: </a:t>
            </a:r>
            <a:r>
              <a:rPr lang="en-GB" sz="900" kern="0">
                <a:latin typeface="Arial"/>
                <a:ea typeface="Arial"/>
                <a:cs typeface="Arial"/>
                <a:sym typeface="Arial"/>
              </a:rPr>
              <a:t>FAC (AY2019-2022)  </a:t>
            </a:r>
            <a:endParaRPr kumimoji="0" sz="900" b="0" i="0" u="none" strike="noStrike" kern="0" cap="none" spc="0" normalizeH="0" baseline="0" noProof="0">
              <a:ln>
                <a:noFill/>
              </a:ln>
              <a:effectLst/>
              <a:uLnTx/>
              <a:uFillTx/>
              <a:latin typeface="Arial"/>
              <a:ea typeface="Arial"/>
              <a:cs typeface="Arial"/>
              <a:sym typeface="Arial"/>
            </a:endParaRPr>
          </a:p>
        </p:txBody>
      </p:sp>
      <p:sp>
        <p:nvSpPr>
          <p:cNvPr id="6" name="TextBox 4">
            <a:extLst>
              <a:ext uri="{FF2B5EF4-FFF2-40B4-BE49-F238E27FC236}">
                <a16:creationId xmlns:a16="http://schemas.microsoft.com/office/drawing/2014/main" id="{8807AAD2-0AAA-AED6-22ED-922E0680849D}"/>
              </a:ext>
            </a:extLst>
          </p:cNvPr>
          <p:cNvSpPr txBox="1"/>
          <p:nvPr/>
        </p:nvSpPr>
        <p:spPr>
          <a:xfrm>
            <a:off x="12744530" y="765506"/>
            <a:ext cx="3804295" cy="2031325"/>
          </a:xfrm>
          <a:prstGeom prst="rect">
            <a:avLst/>
          </a:prstGeom>
          <a:solidFill>
            <a:srgbClr val="FFFF00"/>
          </a:solid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Calibri"/>
              <a:buChar char="-"/>
            </a:pPr>
            <a:r>
              <a:rPr lang="en-US" sz="1400">
                <a:ea typeface="+mn-lt"/>
                <a:cs typeface="+mn-lt"/>
              </a:rPr>
              <a:t>Notes for Pranavi: </a:t>
            </a:r>
          </a:p>
          <a:p>
            <a:pPr marL="285750" indent="-285750">
              <a:buFont typeface="Calibri"/>
              <a:buChar char="-"/>
            </a:pPr>
            <a:r>
              <a:rPr lang="en-US" sz="1400">
                <a:ea typeface="+mn-lt"/>
                <a:cs typeface="+mn-lt"/>
              </a:rPr>
              <a:t>Altering model to predict material weakness specifically? </a:t>
            </a:r>
            <a:endParaRPr lang="en-US"/>
          </a:p>
          <a:p>
            <a:pPr marL="285750" indent="-285750">
              <a:buFont typeface="Calibri"/>
              <a:buChar char="-"/>
            </a:pPr>
            <a:r>
              <a:rPr lang="en-US" sz="1400">
                <a:ea typeface="+mn-lt"/>
                <a:cs typeface="+mn-lt"/>
              </a:rPr>
              <a:t>How can the model be used to predict whether a specific entity will have findings the next year? </a:t>
            </a:r>
          </a:p>
          <a:p>
            <a:pPr marL="285750" indent="-285750">
              <a:buFont typeface="Calibri"/>
              <a:buChar char="-"/>
            </a:pPr>
            <a:r>
              <a:rPr lang="en-US" sz="1400">
                <a:ea typeface="+mn-lt"/>
                <a:cs typeface="+mn-lt"/>
              </a:rPr>
              <a:t>Expand training to include up to 2022 (make testing 2023</a:t>
            </a:r>
          </a:p>
          <a:p>
            <a:pPr marL="285750" indent="-285750">
              <a:buFont typeface="Calibri"/>
              <a:buChar char="-"/>
            </a:pPr>
            <a:endParaRPr lang="en-US" sz="1400">
              <a:ea typeface="+mn-lt"/>
              <a:cs typeface="+mn-lt"/>
            </a:endParaRPr>
          </a:p>
        </p:txBody>
      </p:sp>
      <p:sp>
        <p:nvSpPr>
          <p:cNvPr id="8" name="Rectangle 14">
            <a:extLst>
              <a:ext uri="{FF2B5EF4-FFF2-40B4-BE49-F238E27FC236}">
                <a16:creationId xmlns:a16="http://schemas.microsoft.com/office/drawing/2014/main" id="{DE62881C-8F05-FEAA-60CE-47A91475D658}"/>
              </a:ext>
            </a:extLst>
          </p:cNvPr>
          <p:cNvSpPr>
            <a:spLocks noChangeArrowheads="1"/>
          </p:cNvSpPr>
          <p:nvPr/>
        </p:nvSpPr>
        <p:spPr bwMode="auto">
          <a:xfrm>
            <a:off x="3968803" y="3590030"/>
            <a:ext cx="3310406" cy="548640"/>
          </a:xfrm>
          <a:prstGeom prst="rect">
            <a:avLst/>
          </a:prstGeom>
          <a:solidFill>
            <a:schemeClr val="accent1"/>
          </a:solidFill>
          <a:ln w="12700">
            <a:noFill/>
            <a:miter lim="800000"/>
            <a:headEnd/>
            <a:tailEnd/>
          </a:ln>
          <a:effectLst/>
        </p:spPr>
        <p:txBody>
          <a:bodyPr wrap="none" lIns="91440" tIns="74094" rIns="91440" bIns="74094" anchor="ctr"/>
          <a:lstStyle/>
          <a:p>
            <a:pPr algn="ctr"/>
            <a:r>
              <a:rPr lang="en-GB" sz="1600" b="1">
                <a:solidFill>
                  <a:schemeClr val="bg1"/>
                </a:solidFill>
                <a:ea typeface="+mn-lt"/>
                <a:cs typeface="+mn-lt"/>
              </a:rPr>
              <a:t>Key Signals</a:t>
            </a:r>
            <a:endParaRPr lang="en-US" b="1">
              <a:solidFill>
                <a:schemeClr val="bg1"/>
              </a:solidFill>
            </a:endParaRPr>
          </a:p>
        </p:txBody>
      </p:sp>
      <p:sp>
        <p:nvSpPr>
          <p:cNvPr id="11" name="Rektangel 14">
            <a:extLst>
              <a:ext uri="{FF2B5EF4-FFF2-40B4-BE49-F238E27FC236}">
                <a16:creationId xmlns:a16="http://schemas.microsoft.com/office/drawing/2014/main" id="{7E499687-C1ED-C83C-9A87-4654E4EA3C26}"/>
              </a:ext>
            </a:extLst>
          </p:cNvPr>
          <p:cNvSpPr/>
          <p:nvPr/>
        </p:nvSpPr>
        <p:spPr>
          <a:xfrm>
            <a:off x="3969231" y="4236570"/>
            <a:ext cx="3291667" cy="1846447"/>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285750" indent="-285750">
              <a:buFont typeface="Arial"/>
              <a:buChar char="•"/>
              <a:defRPr/>
            </a:pPr>
            <a:r>
              <a:rPr lang="en-US" sz="1400">
                <a:solidFill>
                  <a:schemeClr val="tx1"/>
                </a:solidFill>
                <a:ea typeface="+mn-lt"/>
                <a:cs typeface="+mn-lt"/>
              </a:rPr>
              <a:t>Prior finding flag / finding count</a:t>
            </a:r>
            <a:endParaRPr lang="en-US" sz="1400" b="1">
              <a:solidFill>
                <a:schemeClr val="tx1"/>
              </a:solidFill>
              <a:ea typeface="+mn-lt"/>
              <a:cs typeface="Arial" panose="020B0604020202020204" pitchFamily="34" charset="0"/>
            </a:endParaRPr>
          </a:p>
          <a:p>
            <a:pPr marL="285750" indent="-285750">
              <a:buFont typeface="Arial"/>
              <a:buChar char="•"/>
              <a:defRPr/>
            </a:pPr>
            <a:r>
              <a:rPr lang="en-US" sz="1400">
                <a:solidFill>
                  <a:schemeClr val="tx1"/>
                </a:solidFill>
                <a:ea typeface="+mn-lt"/>
                <a:cs typeface="+mn-lt"/>
              </a:rPr>
              <a:t>Award-line volume (# of direct award lines)</a:t>
            </a:r>
          </a:p>
          <a:p>
            <a:pPr marL="285750" indent="-285750">
              <a:buFont typeface="Arial"/>
              <a:buChar char="•"/>
              <a:defRPr/>
            </a:pPr>
            <a:r>
              <a:rPr lang="en-US" sz="1400">
                <a:solidFill>
                  <a:schemeClr val="tx1"/>
                </a:solidFill>
                <a:ea typeface="+mn-lt"/>
                <a:cs typeface="+mn-lt"/>
              </a:rPr>
              <a:t>Breadth of funding (distinct programs/agencies</a:t>
            </a:r>
          </a:p>
          <a:p>
            <a:pPr marL="285750" indent="-285750">
              <a:buFont typeface="Arial"/>
              <a:buChar char="•"/>
              <a:defRPr/>
            </a:pPr>
            <a:r>
              <a:rPr lang="en-US" sz="1400">
                <a:solidFill>
                  <a:schemeClr val="tx1"/>
                </a:solidFill>
                <a:ea typeface="+mn-lt"/>
                <a:cs typeface="+mn-lt"/>
              </a:rPr>
              <a:t>Scale of funding (program totals / major award lines)</a:t>
            </a:r>
            <a:endParaRPr lang="en-US" sz="1400">
              <a:solidFill>
                <a:schemeClr val="tx1"/>
              </a:solidFill>
            </a:endParaRPr>
          </a:p>
        </p:txBody>
      </p:sp>
      <p:pic>
        <p:nvPicPr>
          <p:cNvPr id="14" name="Picture 13" descr="A graph with blue squares&#10;&#10;AI-generated content may be incorrect.">
            <a:extLst>
              <a:ext uri="{FF2B5EF4-FFF2-40B4-BE49-F238E27FC236}">
                <a16:creationId xmlns:a16="http://schemas.microsoft.com/office/drawing/2014/main" id="{22530A8B-491A-D2AC-1837-C4EE56AA8514}"/>
              </a:ext>
            </a:extLst>
          </p:cNvPr>
          <p:cNvPicPr>
            <a:picLocks noChangeAspect="1"/>
          </p:cNvPicPr>
          <p:nvPr/>
        </p:nvPicPr>
        <p:blipFill>
          <a:blip r:embed="rId6"/>
          <a:stretch>
            <a:fillRect/>
          </a:stretch>
        </p:blipFill>
        <p:spPr>
          <a:xfrm>
            <a:off x="7416071" y="2144956"/>
            <a:ext cx="4430219" cy="3056432"/>
          </a:xfrm>
          <a:prstGeom prst="rect">
            <a:avLst/>
          </a:prstGeom>
          <a:ln>
            <a:solidFill>
              <a:schemeClr val="tx1"/>
            </a:solidFill>
          </a:ln>
        </p:spPr>
      </p:pic>
      <p:sp>
        <p:nvSpPr>
          <p:cNvPr id="17" name="Google Shape;538;p14">
            <a:extLst>
              <a:ext uri="{FF2B5EF4-FFF2-40B4-BE49-F238E27FC236}">
                <a16:creationId xmlns:a16="http://schemas.microsoft.com/office/drawing/2014/main" id="{92456066-C725-3345-BE5A-EB42187EB57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Tree>
    <p:extLst>
      <p:ext uri="{BB962C8B-B14F-4D97-AF65-F5344CB8AC3E}">
        <p14:creationId xmlns:p14="http://schemas.microsoft.com/office/powerpoint/2010/main" val="3748027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61456-BE95-0A44-76EA-7F723029C2DC}"/>
            </a:ext>
          </a:extLst>
        </p:cNvPr>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7205718E-1E85-7FAB-D85B-093594ACF7F0}"/>
              </a:ext>
            </a:extLst>
          </p:cNvPr>
          <p:cNvSpPr/>
          <p:nvPr/>
        </p:nvSpPr>
        <p:spPr>
          <a:xfrm>
            <a:off x="1121422" y="1353315"/>
            <a:ext cx="9894303" cy="3428888"/>
          </a:xfrm>
          <a:prstGeom prst="round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19DC5FC2-C772-31D0-F939-BD97B68492F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14D11838-9C22-4D4E-9242-10CAF8FCA84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FF6ADC-BC10-096E-10B3-F658469C9668}"/>
              </a:ext>
            </a:extLst>
          </p:cNvPr>
          <p:cNvSpPr>
            <a:spLocks noGrp="1"/>
          </p:cNvSpPr>
          <p:nvPr>
            <p:ph type="title"/>
          </p:nvPr>
        </p:nvSpPr>
        <p:spPr>
          <a:xfrm>
            <a:off x="516704" y="284208"/>
            <a:ext cx="6377894" cy="778412"/>
          </a:xfrm>
        </p:spPr>
        <p:txBody>
          <a:bodyPr/>
          <a:lstStyle/>
          <a:p>
            <a:r>
              <a:rPr lang="en-US">
                <a:ea typeface="+mj-lt"/>
                <a:cs typeface="+mj-lt"/>
              </a:rPr>
              <a:t>Closing the Gaps</a:t>
            </a:r>
            <a:endParaRPr lang="en-US"/>
          </a:p>
        </p:txBody>
      </p:sp>
      <p:sp>
        <p:nvSpPr>
          <p:cNvPr id="22" name="Google Shape;934;p251">
            <a:extLst>
              <a:ext uri="{FF2B5EF4-FFF2-40B4-BE49-F238E27FC236}">
                <a16:creationId xmlns:a16="http://schemas.microsoft.com/office/drawing/2014/main" id="{5F4FFF7B-ACBE-7B9E-F014-812FF1B4D705}"/>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BD39ABF8-4676-48B3-A390-A4C8B91EDE5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23" name="Google Shape;507;p14">
            <a:extLst>
              <a:ext uri="{FF2B5EF4-FFF2-40B4-BE49-F238E27FC236}">
                <a16:creationId xmlns:a16="http://schemas.microsoft.com/office/drawing/2014/main" id="{0B8AC1A0-91B0-7AB0-BB48-571627D4D90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AC (FY2016-2024), SAM.gov Public Extract 25361 (Dec 27, 2025) | 2 CFR 200 | DATA Act</a:t>
            </a:r>
            <a:endParaRPr lang="en-US"/>
          </a:p>
        </p:txBody>
      </p:sp>
      <p:cxnSp>
        <p:nvCxnSpPr>
          <p:cNvPr id="6" name="Straight Connector 5">
            <a:extLst>
              <a:ext uri="{FF2B5EF4-FFF2-40B4-BE49-F238E27FC236}">
                <a16:creationId xmlns:a16="http://schemas.microsoft.com/office/drawing/2014/main" id="{7D3C5E4E-25B0-FACC-261C-963EF82843BC}"/>
              </a:ext>
            </a:extLst>
          </p:cNvPr>
          <p:cNvCxnSpPr>
            <a:cxnSpLocks/>
          </p:cNvCxnSpPr>
          <p:nvPr/>
        </p:nvCxnSpPr>
        <p:spPr>
          <a:xfrm>
            <a:off x="514893" y="5569626"/>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FE86740-1860-1856-471D-5C78EFE9FB01}"/>
              </a:ext>
            </a:extLst>
          </p:cNvPr>
          <p:cNvSpPr txBox="1"/>
          <p:nvPr/>
        </p:nvSpPr>
        <p:spPr>
          <a:xfrm>
            <a:off x="562784" y="5647066"/>
            <a:ext cx="1113615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latin typeface="Aptos Display"/>
              </a:rPr>
              <a:t>The Bottom Line: </a:t>
            </a:r>
            <a:r>
              <a:rPr lang="en-US" sz="2400">
                <a:latin typeface="Aptos Display"/>
              </a:rPr>
              <a:t>The data exists. The tools exist. What's missing is the integration.</a:t>
            </a:r>
          </a:p>
        </p:txBody>
      </p:sp>
      <p:sp>
        <p:nvSpPr>
          <p:cNvPr id="9" name="TextBox 4">
            <a:extLst>
              <a:ext uri="{FF2B5EF4-FFF2-40B4-BE49-F238E27FC236}">
                <a16:creationId xmlns:a16="http://schemas.microsoft.com/office/drawing/2014/main" id="{D50A8672-7EAC-946F-675C-FDAA14F4C684}"/>
              </a:ext>
            </a:extLst>
          </p:cNvPr>
          <p:cNvSpPr txBox="1"/>
          <p:nvPr/>
        </p:nvSpPr>
        <p:spPr>
          <a:xfrm>
            <a:off x="651415" y="916744"/>
            <a:ext cx="8876538"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From analysis to accountability.</a:t>
            </a:r>
            <a:endParaRPr lang="en-US"/>
          </a:p>
        </p:txBody>
      </p:sp>
      <p:sp>
        <p:nvSpPr>
          <p:cNvPr id="19" name="Title 1">
            <a:extLst>
              <a:ext uri="{FF2B5EF4-FFF2-40B4-BE49-F238E27FC236}">
                <a16:creationId xmlns:a16="http://schemas.microsoft.com/office/drawing/2014/main" id="{86A6E53F-0A2C-7707-4895-6FC67E67F03A}"/>
              </a:ext>
            </a:extLst>
          </p:cNvPr>
          <p:cNvSpPr txBox="1">
            <a:spLocks/>
          </p:cNvSpPr>
          <p:nvPr/>
        </p:nvSpPr>
        <p:spPr>
          <a:xfrm>
            <a:off x="6152790" y="1352776"/>
            <a:ext cx="2363851" cy="3431503"/>
          </a:xfrm>
          <a:prstGeom prst="roundRect">
            <a:avLst/>
          </a:prstGeom>
          <a:solidFill>
            <a:srgbClr val="B1DED7"/>
          </a:solidFill>
          <a:ln>
            <a:solidFill>
              <a:srgbClr val="5EEAD4"/>
            </a:solid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b="1">
              <a:solidFill>
                <a:srgbClr val="000000"/>
              </a:solidFill>
              <a:ea typeface="+mj-lt"/>
              <a:cs typeface="+mj-lt"/>
            </a:endParaRPr>
          </a:p>
        </p:txBody>
      </p:sp>
      <p:sp>
        <p:nvSpPr>
          <p:cNvPr id="18" name="Title 1">
            <a:extLst>
              <a:ext uri="{FF2B5EF4-FFF2-40B4-BE49-F238E27FC236}">
                <a16:creationId xmlns:a16="http://schemas.microsoft.com/office/drawing/2014/main" id="{E4EB992F-A3CC-AAB0-EA47-D4813ABCA2FA}"/>
              </a:ext>
            </a:extLst>
          </p:cNvPr>
          <p:cNvSpPr txBox="1">
            <a:spLocks/>
          </p:cNvSpPr>
          <p:nvPr/>
        </p:nvSpPr>
        <p:spPr>
          <a:xfrm>
            <a:off x="8614865" y="1352775"/>
            <a:ext cx="2457634" cy="3431503"/>
          </a:xfrm>
          <a:prstGeom prst="roundRect">
            <a:avLst/>
          </a:prstGeom>
          <a:solidFill>
            <a:srgbClr val="9BD1D1"/>
          </a:solidFill>
          <a:ln>
            <a:solidFill>
              <a:srgbClr val="5EEAD4"/>
            </a:solid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b="1"/>
          </a:p>
        </p:txBody>
      </p:sp>
      <p:sp>
        <p:nvSpPr>
          <p:cNvPr id="14" name="Title 1">
            <a:extLst>
              <a:ext uri="{FF2B5EF4-FFF2-40B4-BE49-F238E27FC236}">
                <a16:creationId xmlns:a16="http://schemas.microsoft.com/office/drawing/2014/main" id="{E0F191CA-D39B-969A-735D-82861FFD9572}"/>
              </a:ext>
            </a:extLst>
          </p:cNvPr>
          <p:cNvSpPr txBox="1">
            <a:spLocks/>
          </p:cNvSpPr>
          <p:nvPr/>
        </p:nvSpPr>
        <p:spPr>
          <a:xfrm>
            <a:off x="3585666" y="1352776"/>
            <a:ext cx="2457634" cy="3431503"/>
          </a:xfrm>
          <a:prstGeom prst="roundRect">
            <a:avLst/>
          </a:prstGeom>
          <a:solidFill>
            <a:srgbClr val="9BD1D1"/>
          </a:solidFill>
          <a:ln>
            <a:solidFill>
              <a:srgbClr val="5EEAD4"/>
            </a:solid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b="1"/>
          </a:p>
        </p:txBody>
      </p:sp>
      <p:sp>
        <p:nvSpPr>
          <p:cNvPr id="12" name="Title 1">
            <a:extLst>
              <a:ext uri="{FF2B5EF4-FFF2-40B4-BE49-F238E27FC236}">
                <a16:creationId xmlns:a16="http://schemas.microsoft.com/office/drawing/2014/main" id="{4C11A0C3-B897-E3E0-7404-607DE2414430}"/>
              </a:ext>
            </a:extLst>
          </p:cNvPr>
          <p:cNvSpPr txBox="1">
            <a:spLocks/>
          </p:cNvSpPr>
          <p:nvPr/>
        </p:nvSpPr>
        <p:spPr>
          <a:xfrm>
            <a:off x="1123591" y="1352777"/>
            <a:ext cx="2363851" cy="3431503"/>
          </a:xfrm>
          <a:prstGeom prst="roundRect">
            <a:avLst/>
          </a:prstGeom>
          <a:solidFill>
            <a:srgbClr val="B1DED7"/>
          </a:solidFill>
          <a:ln>
            <a:solidFill>
              <a:srgbClr val="5EEAD4"/>
            </a:solid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b="1">
              <a:solidFill>
                <a:srgbClr val="000000"/>
              </a:solidFill>
              <a:ea typeface="+mj-lt"/>
              <a:cs typeface="+mj-lt"/>
            </a:endParaRPr>
          </a:p>
        </p:txBody>
      </p:sp>
      <p:grpSp>
        <p:nvGrpSpPr>
          <p:cNvPr id="16" name="Group 15">
            <a:extLst>
              <a:ext uri="{FF2B5EF4-FFF2-40B4-BE49-F238E27FC236}">
                <a16:creationId xmlns:a16="http://schemas.microsoft.com/office/drawing/2014/main" id="{EE573610-1C1D-1138-6982-B278D8FA0821}"/>
              </a:ext>
            </a:extLst>
          </p:cNvPr>
          <p:cNvGrpSpPr/>
          <p:nvPr/>
        </p:nvGrpSpPr>
        <p:grpSpPr>
          <a:xfrm>
            <a:off x="1723851" y="4467591"/>
            <a:ext cx="9103819" cy="557830"/>
            <a:chOff x="1656616" y="4454915"/>
            <a:chExt cx="9103819" cy="557830"/>
          </a:xfrm>
        </p:grpSpPr>
        <p:sp>
          <p:nvSpPr>
            <p:cNvPr id="4" name="Rectangle: Rounded Corners 3">
              <a:extLst>
                <a:ext uri="{FF2B5EF4-FFF2-40B4-BE49-F238E27FC236}">
                  <a16:creationId xmlns:a16="http://schemas.microsoft.com/office/drawing/2014/main" id="{9D5E1988-9745-9FE0-299F-076AF362B7FF}"/>
                </a:ext>
              </a:extLst>
            </p:cNvPr>
            <p:cNvSpPr/>
            <p:nvPr/>
          </p:nvSpPr>
          <p:spPr>
            <a:xfrm>
              <a:off x="1656616" y="4486145"/>
              <a:ext cx="1108027" cy="526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MB / Treasury</a:t>
              </a:r>
            </a:p>
          </p:txBody>
        </p:sp>
        <p:sp>
          <p:nvSpPr>
            <p:cNvPr id="10" name="Rectangle: Rounded Corners 9">
              <a:extLst>
                <a:ext uri="{FF2B5EF4-FFF2-40B4-BE49-F238E27FC236}">
                  <a16:creationId xmlns:a16="http://schemas.microsoft.com/office/drawing/2014/main" id="{628780ED-502C-93B4-C5AF-6ED82377B23D}"/>
                </a:ext>
              </a:extLst>
            </p:cNvPr>
            <p:cNvSpPr/>
            <p:nvPr/>
          </p:nvSpPr>
          <p:spPr>
            <a:xfrm>
              <a:off x="4268261" y="4459877"/>
              <a:ext cx="1139025" cy="51954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MB / Agencies</a:t>
              </a:r>
            </a:p>
          </p:txBody>
        </p:sp>
        <p:sp>
          <p:nvSpPr>
            <p:cNvPr id="11" name="Rectangle: Rounded Corners 10">
              <a:extLst>
                <a:ext uri="{FF2B5EF4-FFF2-40B4-BE49-F238E27FC236}">
                  <a16:creationId xmlns:a16="http://schemas.microsoft.com/office/drawing/2014/main" id="{6DD6E9A9-2914-42FB-5BA6-3B3CEE9CA955}"/>
                </a:ext>
              </a:extLst>
            </p:cNvPr>
            <p:cNvSpPr/>
            <p:nvPr/>
          </p:nvSpPr>
          <p:spPr>
            <a:xfrm>
              <a:off x="6767035" y="4459876"/>
              <a:ext cx="1139025" cy="51954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Treasury</a:t>
              </a:r>
            </a:p>
          </p:txBody>
        </p:sp>
        <p:sp>
          <p:nvSpPr>
            <p:cNvPr id="13" name="Rectangle: Rounded Corners 12">
              <a:extLst>
                <a:ext uri="{FF2B5EF4-FFF2-40B4-BE49-F238E27FC236}">
                  <a16:creationId xmlns:a16="http://schemas.microsoft.com/office/drawing/2014/main" id="{49ABEC5D-B634-1BD1-689F-0F82AC8FF32B}"/>
                </a:ext>
              </a:extLst>
            </p:cNvPr>
            <p:cNvSpPr/>
            <p:nvPr/>
          </p:nvSpPr>
          <p:spPr>
            <a:xfrm>
              <a:off x="8928117" y="4454915"/>
              <a:ext cx="1832318" cy="51954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MB / Awarding Agencies</a:t>
              </a:r>
            </a:p>
          </p:txBody>
        </p:sp>
      </p:grpSp>
      <p:pic>
        <p:nvPicPr>
          <p:cNvPr id="3" name="Picture 2" descr="A screenshot of a black screen">
            <a:extLst>
              <a:ext uri="{FF2B5EF4-FFF2-40B4-BE49-F238E27FC236}">
                <a16:creationId xmlns:a16="http://schemas.microsoft.com/office/drawing/2014/main" id="{6CB51E73-AE14-7FBE-358A-438179B83BC7}"/>
              </a:ext>
            </a:extLst>
          </p:cNvPr>
          <p:cNvPicPr>
            <a:picLocks noChangeAspect="1"/>
          </p:cNvPicPr>
          <p:nvPr/>
        </p:nvPicPr>
        <p:blipFill>
          <a:blip r:embed="rId6"/>
          <a:stretch>
            <a:fillRect/>
          </a:stretch>
        </p:blipFill>
        <p:spPr>
          <a:xfrm>
            <a:off x="1150327" y="1351960"/>
            <a:ext cx="9891346" cy="2161157"/>
          </a:xfrm>
          <a:prstGeom prst="rect">
            <a:avLst/>
          </a:prstGeom>
        </p:spPr>
      </p:pic>
    </p:spTree>
    <p:extLst>
      <p:ext uri="{BB962C8B-B14F-4D97-AF65-F5344CB8AC3E}">
        <p14:creationId xmlns:p14="http://schemas.microsoft.com/office/powerpoint/2010/main" val="34444189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A4C7-C33B-EB9C-1DAC-F6B58000B2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779B89-7393-A9FE-341F-D875A6690724}"/>
              </a:ext>
            </a:extLst>
          </p:cNvPr>
          <p:cNvSpPr>
            <a:spLocks noGrp="1"/>
          </p:cNvSpPr>
          <p:nvPr>
            <p:ph type="title"/>
          </p:nvPr>
        </p:nvSpPr>
        <p:spPr/>
        <p:txBody>
          <a:bodyPr>
            <a:normAutofit/>
          </a:bodyPr>
          <a:lstStyle/>
          <a:p>
            <a:r>
              <a:rPr lang="en-US"/>
              <a:t>Appendix </a:t>
            </a:r>
          </a:p>
        </p:txBody>
      </p:sp>
      <p:sp>
        <p:nvSpPr>
          <p:cNvPr id="9" name="Google Shape;538;p14">
            <a:extLst>
              <a:ext uri="{FF2B5EF4-FFF2-40B4-BE49-F238E27FC236}">
                <a16:creationId xmlns:a16="http://schemas.microsoft.com/office/drawing/2014/main" id="{4EE5D7A0-50E0-2BE8-7F7C-486A9824EEC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4" name="TextBox 3">
            <a:extLst>
              <a:ext uri="{FF2B5EF4-FFF2-40B4-BE49-F238E27FC236}">
                <a16:creationId xmlns:a16="http://schemas.microsoft.com/office/drawing/2014/main" id="{F542C149-52F2-4BFD-F75A-A341DAFEE7AD}"/>
              </a:ext>
            </a:extLst>
          </p:cNvPr>
          <p:cNvSpPr txBox="1"/>
          <p:nvPr/>
        </p:nvSpPr>
        <p:spPr>
          <a:xfrm>
            <a:off x="553641" y="1559720"/>
            <a:ext cx="145851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aseline="0">
                <a:latin typeface="Aptos"/>
              </a:rPr>
              <a:t> DATA </a:t>
            </a:r>
            <a:r>
              <a:rPr lang="en-US" sz="1400">
                <a:latin typeface="Aptos"/>
              </a:rPr>
              <a:t>SOURCES</a:t>
            </a:r>
            <a:endParaRPr lang="en-US"/>
          </a:p>
        </p:txBody>
      </p:sp>
      <p:sp>
        <p:nvSpPr>
          <p:cNvPr id="5" name="TextBox 4">
            <a:extLst>
              <a:ext uri="{FF2B5EF4-FFF2-40B4-BE49-F238E27FC236}">
                <a16:creationId xmlns:a16="http://schemas.microsoft.com/office/drawing/2014/main" id="{E733388A-93D8-A57E-6F8F-CC681F66078B}"/>
              </a:ext>
            </a:extLst>
          </p:cNvPr>
          <p:cNvSpPr txBox="1"/>
          <p:nvPr/>
        </p:nvSpPr>
        <p:spPr>
          <a:xfrm>
            <a:off x="9349896" y="3726043"/>
            <a:ext cx="259351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latin typeface="Aptos"/>
              </a:rPr>
              <a:t>CASE STUDIES (EXTENDED)</a:t>
            </a:r>
            <a:endParaRPr lang="en-US"/>
          </a:p>
        </p:txBody>
      </p:sp>
      <p:sp>
        <p:nvSpPr>
          <p:cNvPr id="8" name="TextBox 7">
            <a:extLst>
              <a:ext uri="{FF2B5EF4-FFF2-40B4-BE49-F238E27FC236}">
                <a16:creationId xmlns:a16="http://schemas.microsoft.com/office/drawing/2014/main" id="{F04D08A6-211E-A7D2-AA77-B15CE05F91D0}"/>
              </a:ext>
            </a:extLst>
          </p:cNvPr>
          <p:cNvSpPr txBox="1"/>
          <p:nvPr/>
        </p:nvSpPr>
        <p:spPr>
          <a:xfrm>
            <a:off x="553639" y="3726658"/>
            <a:ext cx="145851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METHODOLOGY</a:t>
            </a:r>
            <a:endParaRPr lang="en-US"/>
          </a:p>
        </p:txBody>
      </p:sp>
      <p:sp>
        <p:nvSpPr>
          <p:cNvPr id="11" name="TextBox 10">
            <a:extLst>
              <a:ext uri="{FF2B5EF4-FFF2-40B4-BE49-F238E27FC236}">
                <a16:creationId xmlns:a16="http://schemas.microsoft.com/office/drawing/2014/main" id="{2433E9E8-696D-3B1B-6000-63ACB20E8BD3}"/>
              </a:ext>
            </a:extLst>
          </p:cNvPr>
          <p:cNvSpPr txBox="1"/>
          <p:nvPr/>
        </p:nvSpPr>
        <p:spPr>
          <a:xfrm>
            <a:off x="9591304" y="1559720"/>
            <a:ext cx="211336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REGULATORY CITATIONS</a:t>
            </a:r>
            <a:endParaRPr lang="en-US"/>
          </a:p>
        </p:txBody>
      </p:sp>
      <p:sp>
        <p:nvSpPr>
          <p:cNvPr id="12" name="TextBox 11">
            <a:extLst>
              <a:ext uri="{FF2B5EF4-FFF2-40B4-BE49-F238E27FC236}">
                <a16:creationId xmlns:a16="http://schemas.microsoft.com/office/drawing/2014/main" id="{83953811-00E0-943B-6623-C5814FF22068}"/>
              </a:ext>
            </a:extLst>
          </p:cNvPr>
          <p:cNvSpPr txBox="1"/>
          <p:nvPr/>
        </p:nvSpPr>
        <p:spPr>
          <a:xfrm>
            <a:off x="4893467" y="1559720"/>
            <a:ext cx="261937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TAXPAYER PROTECTION SCORE</a:t>
            </a:r>
            <a:endParaRPr lang="en-US"/>
          </a:p>
        </p:txBody>
      </p:sp>
      <p:sp>
        <p:nvSpPr>
          <p:cNvPr id="13" name="TextBox 12">
            <a:extLst>
              <a:ext uri="{FF2B5EF4-FFF2-40B4-BE49-F238E27FC236}">
                <a16:creationId xmlns:a16="http://schemas.microsoft.com/office/drawing/2014/main" id="{F3014760-BBD7-4616-63D4-D6DF43C2CF6C}"/>
              </a:ext>
            </a:extLst>
          </p:cNvPr>
          <p:cNvSpPr txBox="1"/>
          <p:nvPr/>
        </p:nvSpPr>
        <p:spPr>
          <a:xfrm>
            <a:off x="5298278" y="3726658"/>
            <a:ext cx="106561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latin typeface="Aptos"/>
              </a:rPr>
              <a:t>ML MODEL</a:t>
            </a:r>
            <a:endParaRPr lang="en-US"/>
          </a:p>
        </p:txBody>
      </p:sp>
      <p:sp>
        <p:nvSpPr>
          <p:cNvPr id="14" name="TextBox 13">
            <a:extLst>
              <a:ext uri="{FF2B5EF4-FFF2-40B4-BE49-F238E27FC236}">
                <a16:creationId xmlns:a16="http://schemas.microsoft.com/office/drawing/2014/main" id="{485E4E46-63FB-95FB-2E71-4B2CBC23F82E}"/>
              </a:ext>
            </a:extLst>
          </p:cNvPr>
          <p:cNvSpPr txBox="1"/>
          <p:nvPr/>
        </p:nvSpPr>
        <p:spPr>
          <a:xfrm>
            <a:off x="250031" y="1869283"/>
            <a:ext cx="3914694"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000">
                <a:latin typeface="Aptos"/>
                <a:hlinkClick r:id="rId3"/>
              </a:rPr>
              <a:t>USAspending.gov: API docs + data dictionary</a:t>
            </a:r>
            <a:endParaRPr lang="en-US">
              <a:hlinkClick r:id="rId3"/>
            </a:endParaRPr>
          </a:p>
          <a:p>
            <a:pPr marL="171450" indent="-171450">
              <a:buFont typeface="Arial"/>
              <a:buChar char="•"/>
            </a:pPr>
            <a:endParaRPr lang="en-US" sz="1000"/>
          </a:p>
          <a:p>
            <a:pPr marL="171450" indent="-171450">
              <a:buFont typeface="Arial"/>
              <a:buChar char="•"/>
            </a:pPr>
            <a:r>
              <a:rPr lang="en-US" sz="1000">
                <a:hlinkClick r:id="rId4"/>
              </a:rPr>
              <a:t>Federal Audit Clearinghouse (FAC): dataset overview + files used</a:t>
            </a:r>
          </a:p>
          <a:p>
            <a:pPr marL="171450" indent="-171450">
              <a:buFont typeface="Arial"/>
              <a:buChar char="•"/>
            </a:pPr>
            <a:endParaRPr lang="en-US" sz="1000"/>
          </a:p>
          <a:p>
            <a:pPr marL="171450" indent="-171450">
              <a:buFont typeface="Arial"/>
              <a:buChar char="•"/>
            </a:pPr>
            <a:r>
              <a:rPr lang="en-US" sz="1000">
                <a:hlinkClick r:id="rId5"/>
              </a:rPr>
              <a:t>SAM.gov Exclusions: public extract documentation (UEI coverage limitation)</a:t>
            </a:r>
          </a:p>
          <a:p>
            <a:pPr marL="171450" indent="-171450">
              <a:buFont typeface="Arial"/>
              <a:buChar char="•"/>
            </a:pPr>
            <a:endParaRPr lang="en-US" sz="1000"/>
          </a:p>
          <a:p>
            <a:pPr marL="171450" indent="-171450">
              <a:buFont typeface="Arial"/>
              <a:buChar char="•"/>
            </a:pPr>
            <a:r>
              <a:rPr lang="en-US" sz="1000">
                <a:hlinkClick r:id="rId6"/>
              </a:rPr>
              <a:t>"Allowable Data Sources " (competition rules screenshot / doc)</a:t>
            </a:r>
          </a:p>
          <a:p>
            <a:pPr marL="171450" indent="-171450">
              <a:buFont typeface="Arial"/>
              <a:buChar char="•"/>
            </a:pPr>
            <a:endParaRPr lang="en-US" sz="1000"/>
          </a:p>
          <a:p>
            <a:pPr marL="171450" indent="-171450">
              <a:buFont typeface="Arial"/>
              <a:buChar char="•"/>
            </a:pPr>
            <a:r>
              <a:rPr lang="en-US" sz="1000">
                <a:hlinkClick r:id="rId7"/>
              </a:rPr>
              <a:t>Data dictionaries used in this repo (FAC, USAspending, Merged outputs)</a:t>
            </a:r>
            <a:endParaRPr lang="en-US" sz="1000"/>
          </a:p>
          <a:p>
            <a:pPr marL="171450" indent="-171450">
              <a:buFont typeface="Arial"/>
              <a:buChar char="•"/>
            </a:pPr>
            <a:endParaRPr lang="en-US" sz="1000"/>
          </a:p>
        </p:txBody>
      </p:sp>
      <p:sp>
        <p:nvSpPr>
          <p:cNvPr id="22" name="TextBox 21">
            <a:extLst>
              <a:ext uri="{FF2B5EF4-FFF2-40B4-BE49-F238E27FC236}">
                <a16:creationId xmlns:a16="http://schemas.microsoft.com/office/drawing/2014/main" id="{611F2C84-CD97-FC10-DDAC-2D98405871BB}"/>
              </a:ext>
            </a:extLst>
          </p:cNvPr>
          <p:cNvSpPr txBox="1"/>
          <p:nvPr/>
        </p:nvSpPr>
        <p:spPr>
          <a:xfrm>
            <a:off x="250031" y="4232671"/>
            <a:ext cx="4155282"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000">
                <a:latin typeface="Aptos"/>
                <a:hlinkClick r:id="rId8"/>
              </a:rPr>
              <a:t>Pipeline overview (Clean --&gt; Score --&gt; Merge) visual</a:t>
            </a:r>
            <a:r>
              <a:rPr lang="en-US" sz="1000">
                <a:latin typeface="Aptos"/>
              </a:rPr>
              <a:t> </a:t>
            </a:r>
            <a:endParaRPr lang="en-US"/>
          </a:p>
          <a:p>
            <a:pPr marL="171450" indent="-171450">
              <a:buFont typeface="Arial"/>
              <a:buChar char="•"/>
            </a:pPr>
            <a:endParaRPr lang="en-US" sz="1000"/>
          </a:p>
          <a:p>
            <a:pPr marL="171450" indent="-171450">
              <a:buFont typeface="Arial"/>
              <a:buChar char="•"/>
            </a:pPr>
            <a:r>
              <a:rPr lang="en-US" sz="1000">
                <a:hlinkClick r:id="rId9"/>
              </a:rPr>
              <a:t>Join logic: UEI mapping (auditee_uei = recipient_uei) explanation</a:t>
            </a:r>
          </a:p>
          <a:p>
            <a:pPr marL="171450" indent="-171450">
              <a:buFont typeface="Arial"/>
              <a:buChar char="•"/>
            </a:pPr>
            <a:endParaRPr lang="en-US" sz="1000"/>
          </a:p>
          <a:p>
            <a:pPr marL="171450" indent="-171450">
              <a:buFont typeface="Arial"/>
              <a:buChar char="•"/>
            </a:pPr>
            <a:r>
              <a:rPr lang="en-US" sz="1000">
                <a:hlinkClick r:id="rId10"/>
              </a:rPr>
              <a:t>Alteryx workflows (screenshots + the .yxmd files)</a:t>
            </a:r>
            <a:endParaRPr lang="en-US" sz="1000"/>
          </a:p>
          <a:p>
            <a:pPr marL="171450" indent="-171450">
              <a:buFont typeface="Arial"/>
              <a:buChar char="•"/>
            </a:pPr>
            <a:endParaRPr lang="en-US" sz="1000"/>
          </a:p>
          <a:p>
            <a:pPr marL="171450" indent="-171450">
              <a:buFont typeface="Arial"/>
              <a:buChar char="•"/>
            </a:pPr>
            <a:r>
              <a:rPr lang="en-US" sz="1000">
                <a:hlinkClick r:id="rId11"/>
              </a:rPr>
              <a:t>Data acquisition notes (what we downloaded, and why)</a:t>
            </a:r>
          </a:p>
          <a:p>
            <a:endParaRPr lang="en-US" sz="1000"/>
          </a:p>
        </p:txBody>
      </p:sp>
      <p:sp>
        <p:nvSpPr>
          <p:cNvPr id="24" name="TextBox 23">
            <a:extLst>
              <a:ext uri="{FF2B5EF4-FFF2-40B4-BE49-F238E27FC236}">
                <a16:creationId xmlns:a16="http://schemas.microsoft.com/office/drawing/2014/main" id="{3BD1E311-C89D-46DE-9F14-6B48620073B7}"/>
              </a:ext>
            </a:extLst>
          </p:cNvPr>
          <p:cNvSpPr txBox="1"/>
          <p:nvPr/>
        </p:nvSpPr>
        <p:spPr>
          <a:xfrm>
            <a:off x="4833937" y="1869281"/>
            <a:ext cx="3506391"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000">
                <a:latin typeface="Aptos"/>
                <a:hlinkClick r:id="rId12"/>
              </a:rPr>
              <a:t>Variable Definitions (fields used in scoring)</a:t>
            </a:r>
            <a:endParaRPr lang="en-US"/>
          </a:p>
          <a:p>
            <a:pPr marL="171450" indent="-171450">
              <a:buFont typeface="Arial"/>
              <a:buChar char="•"/>
            </a:pPr>
            <a:endParaRPr lang="en-US" sz="1000"/>
          </a:p>
          <a:p>
            <a:pPr marL="171450" indent="-171450">
              <a:buFont typeface="Arial"/>
              <a:buChar char="•"/>
            </a:pPr>
            <a:r>
              <a:rPr lang="en-US" sz="1000"/>
              <a:t> </a:t>
            </a:r>
            <a:r>
              <a:rPr lang="en-US" sz="1000">
                <a:hlinkClick r:id="rId13"/>
              </a:rPr>
              <a:t>Weighting rationale (risk factors vs mitigating factors)</a:t>
            </a:r>
          </a:p>
          <a:p>
            <a:pPr marL="171450" indent="-171450">
              <a:buFont typeface="Arial"/>
              <a:buChar char="•"/>
            </a:pPr>
            <a:endParaRPr lang="en-US" sz="1000"/>
          </a:p>
          <a:p>
            <a:pPr marL="171450" indent="-171450">
              <a:buFont typeface="Arial"/>
              <a:buChar char="•"/>
            </a:pPr>
            <a:r>
              <a:rPr lang="en-US" sz="1000"/>
              <a:t> </a:t>
            </a:r>
            <a:r>
              <a:rPr lang="en-US" sz="1000">
                <a:hlinkClick r:id="rId14"/>
              </a:rPr>
              <a:t>Score formula and tier thresholds</a:t>
            </a:r>
          </a:p>
          <a:p>
            <a:pPr marL="171450" indent="-171450">
              <a:buFont typeface="Arial"/>
              <a:buChar char="•"/>
            </a:pPr>
            <a:endParaRPr lang="en-US" sz="1000"/>
          </a:p>
          <a:p>
            <a:pPr marL="171450" indent="-171450">
              <a:buFont typeface="Arial"/>
              <a:buChar char="•"/>
            </a:pPr>
            <a:r>
              <a:rPr lang="en-US" sz="1000">
                <a:hlinkClick r:id="rId15"/>
              </a:rPr>
              <a:t>"Problem Entity" rule (logic and flags)</a:t>
            </a:r>
          </a:p>
        </p:txBody>
      </p:sp>
      <p:sp>
        <p:nvSpPr>
          <p:cNvPr id="29" name="TextBox 28">
            <a:extLst>
              <a:ext uri="{FF2B5EF4-FFF2-40B4-BE49-F238E27FC236}">
                <a16:creationId xmlns:a16="http://schemas.microsoft.com/office/drawing/2014/main" id="{9DFA7E82-F678-5E92-3415-CE2CBAE9F44A}"/>
              </a:ext>
            </a:extLst>
          </p:cNvPr>
          <p:cNvSpPr txBox="1"/>
          <p:nvPr/>
        </p:nvSpPr>
        <p:spPr>
          <a:xfrm>
            <a:off x="4893468" y="4137421"/>
            <a:ext cx="3979150" cy="15101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000">
                <a:latin typeface="Aptos"/>
                <a:hlinkClick r:id="rId16"/>
              </a:rPr>
              <a:t>ML training dataset build workflow</a:t>
            </a:r>
            <a:r>
              <a:rPr lang="en-US" sz="1000">
                <a:latin typeface="Aptos"/>
              </a:rPr>
              <a:t> </a:t>
            </a:r>
            <a:endParaRPr lang="en-US">
              <a:latin typeface="Aptos"/>
            </a:endParaRPr>
          </a:p>
          <a:p>
            <a:pPr marL="171450" indent="-171450">
              <a:buFont typeface="Arial"/>
              <a:buChar char="•"/>
            </a:pPr>
            <a:endParaRPr lang="en-US" sz="1000"/>
          </a:p>
          <a:p>
            <a:pPr marL="171450" indent="-171450">
              <a:buFont typeface="Arial"/>
              <a:buChar char="•"/>
            </a:pPr>
            <a:r>
              <a:rPr lang="en-US" sz="1000">
                <a:hlinkClick r:id="rId17"/>
              </a:rPr>
              <a:t>Train/test split methodology</a:t>
            </a:r>
            <a:r>
              <a:rPr lang="en-US" sz="1000"/>
              <a:t> </a:t>
            </a:r>
          </a:p>
          <a:p>
            <a:pPr marL="171450" indent="-171450">
              <a:buFont typeface="Arial"/>
              <a:buChar char="•"/>
            </a:pPr>
            <a:endParaRPr lang="en-US" sz="1000"/>
          </a:p>
          <a:p>
            <a:pPr marL="171450" indent="-171450">
              <a:buFont typeface="Arial"/>
              <a:buChar char="•"/>
            </a:pPr>
            <a:r>
              <a:rPr lang="en-US" sz="1000">
                <a:hlinkClick r:id="rId18"/>
              </a:rPr>
              <a:t>Feature list + feature importance chart (or placeholder if not done</a:t>
            </a:r>
            <a:r>
              <a:rPr lang="en-US" sz="1000"/>
              <a:t> </a:t>
            </a:r>
          </a:p>
          <a:p>
            <a:pPr marL="171450" indent="-171450">
              <a:buFont typeface="Arial"/>
              <a:buChar char="•"/>
            </a:pPr>
            <a:endParaRPr lang="en-US" sz="1000"/>
          </a:p>
          <a:p>
            <a:pPr marL="171450" indent="-171450">
              <a:buFont typeface="Arial"/>
              <a:buChar char="•"/>
            </a:pPr>
            <a:r>
              <a:rPr lang="en-US" sz="1000">
                <a:hlinkClick r:id="rId19"/>
              </a:rPr>
              <a:t>Model validation metrics</a:t>
            </a:r>
            <a:r>
              <a:rPr lang="en-US" sz="1000"/>
              <a:t> </a:t>
            </a:r>
          </a:p>
          <a:p>
            <a:pPr marL="171450" indent="-171450">
              <a:buFont typeface="Arial"/>
              <a:buChar char="•"/>
            </a:pPr>
            <a:endParaRPr lang="en-US" sz="1000"/>
          </a:p>
          <a:p>
            <a:pPr marL="171450" indent="-171450">
              <a:buFont typeface="Arial"/>
              <a:buChar char="•"/>
            </a:pPr>
            <a:r>
              <a:rPr lang="en-US" sz="1000">
                <a:hlinkClick r:id="rId20"/>
              </a:rPr>
              <a:t>Final ML-ready outputs</a:t>
            </a:r>
          </a:p>
        </p:txBody>
      </p:sp>
      <p:sp>
        <p:nvSpPr>
          <p:cNvPr id="35" name="TextBox 34">
            <a:extLst>
              <a:ext uri="{FF2B5EF4-FFF2-40B4-BE49-F238E27FC236}">
                <a16:creationId xmlns:a16="http://schemas.microsoft.com/office/drawing/2014/main" id="{213553EC-39F1-1AFF-127D-04651BE38B5A}"/>
              </a:ext>
            </a:extLst>
          </p:cNvPr>
          <p:cNvSpPr txBox="1"/>
          <p:nvPr/>
        </p:nvSpPr>
        <p:spPr>
          <a:xfrm>
            <a:off x="9405936" y="1869281"/>
            <a:ext cx="2606028"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000">
                <a:latin typeface="Aptos"/>
                <a:hlinkClick r:id="rId21"/>
              </a:rPr>
              <a:t>GAO-05-479 (2005) reference used</a:t>
            </a:r>
            <a:endParaRPr lang="en-US"/>
          </a:p>
          <a:p>
            <a:pPr marL="171450" indent="-171450">
              <a:buFont typeface="Arial"/>
              <a:buChar char="•"/>
            </a:pPr>
            <a:endParaRPr lang="en-US" sz="1000"/>
          </a:p>
          <a:p>
            <a:pPr marL="171450" indent="-171450">
              <a:buFont typeface="Arial"/>
              <a:buChar char="•"/>
            </a:pPr>
            <a:r>
              <a:rPr lang="en-US" sz="1000">
                <a:hlinkClick r:id="rId22"/>
              </a:rPr>
              <a:t>GAO-09-174 (2009) reference used</a:t>
            </a:r>
            <a:r>
              <a:rPr lang="en-US" sz="1000"/>
              <a:t> </a:t>
            </a:r>
          </a:p>
          <a:p>
            <a:pPr marL="171450" indent="-171450">
              <a:buFont typeface="Arial"/>
              <a:buChar char="•"/>
            </a:pPr>
            <a:endParaRPr lang="en-US" sz="1000"/>
          </a:p>
          <a:p>
            <a:pPr marL="171450" indent="-171450">
              <a:buFont typeface="Arial"/>
              <a:buChar char="•"/>
            </a:pPr>
            <a:r>
              <a:rPr lang="en-US" sz="1000">
                <a:hlinkClick r:id="rId23"/>
              </a:rPr>
              <a:t>2 CFR 200 Subpart F references(audit requirements)</a:t>
            </a:r>
          </a:p>
        </p:txBody>
      </p:sp>
      <p:sp>
        <p:nvSpPr>
          <p:cNvPr id="39" name="TextBox 38">
            <a:extLst>
              <a:ext uri="{FF2B5EF4-FFF2-40B4-BE49-F238E27FC236}">
                <a16:creationId xmlns:a16="http://schemas.microsoft.com/office/drawing/2014/main" id="{CDFDB912-4ABC-E083-8072-74548A7F6C32}"/>
              </a:ext>
            </a:extLst>
          </p:cNvPr>
          <p:cNvSpPr txBox="1"/>
          <p:nvPr/>
        </p:nvSpPr>
        <p:spPr>
          <a:xfrm>
            <a:off x="9221389" y="4138242"/>
            <a:ext cx="285750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000">
                <a:latin typeface="Aptos"/>
                <a:hlinkClick r:id="rId24"/>
              </a:rPr>
              <a:t>Full audit findings for flagged entities</a:t>
            </a:r>
            <a:endParaRPr lang="en-US" sz="1000"/>
          </a:p>
          <a:p>
            <a:pPr marL="171450" indent="-171450">
              <a:buFont typeface="Arial"/>
              <a:buChar char="•"/>
            </a:pPr>
            <a:endParaRPr lang="en-US" sz="1000"/>
          </a:p>
          <a:p>
            <a:pPr marL="171450" indent="-171450">
              <a:buFont typeface="Arial"/>
              <a:buChar char="•"/>
            </a:pPr>
            <a:r>
              <a:rPr lang="en-US" sz="1000">
                <a:hlinkClick r:id="rId25"/>
              </a:rPr>
              <a:t>Supporting documentation: screenshots/tables used in the write-up</a:t>
            </a:r>
            <a:r>
              <a:rPr lang="en-US" sz="1000"/>
              <a:t> </a:t>
            </a:r>
          </a:p>
        </p:txBody>
      </p:sp>
      <p:sp>
        <p:nvSpPr>
          <p:cNvPr id="3" name="TextBox 2">
            <a:extLst>
              <a:ext uri="{FF2B5EF4-FFF2-40B4-BE49-F238E27FC236}">
                <a16:creationId xmlns:a16="http://schemas.microsoft.com/office/drawing/2014/main" id="{42EFCBE7-2836-9EB4-E65B-015462867D68}"/>
              </a:ext>
            </a:extLst>
          </p:cNvPr>
          <p:cNvSpPr txBox="1"/>
          <p:nvPr/>
        </p:nvSpPr>
        <p:spPr>
          <a:xfrm>
            <a:off x="12503224" y="44205"/>
            <a:ext cx="3063398" cy="2524364"/>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Action needed, need to confirm with</a:t>
            </a:r>
            <a:r>
              <a:rPr lang="en-US" sz="1200">
                <a:solidFill>
                  <a:srgbClr val="00B0F0"/>
                </a:solidFill>
              </a:rPr>
              <a:t> </a:t>
            </a:r>
            <a:r>
              <a:rPr lang="en-US" sz="1200">
                <a:solidFill>
                  <a:srgbClr val="00B0F0"/>
                </a:solidFill>
                <a:highlight>
                  <a:srgbClr val="FFFFFF"/>
                </a:highlight>
              </a:rPr>
              <a:t>Khaled/Pranavi</a:t>
            </a:r>
            <a:r>
              <a:rPr lang="en-US" sz="1200"/>
              <a:t>:</a:t>
            </a:r>
            <a:br>
              <a:rPr lang="en-US" sz="1200"/>
            </a:br>
            <a:br>
              <a:rPr lang="en-US" sz="1200"/>
            </a:br>
            <a:r>
              <a:rPr lang="en-US" sz="1200">
                <a:ea typeface="+mn-lt"/>
                <a:cs typeface="+mn-lt"/>
              </a:rPr>
              <a:t>ML training dataset build workflow: confirm workflow + artifacts</a:t>
            </a:r>
          </a:p>
          <a:p>
            <a:endParaRPr lang="en-US" sz="1200"/>
          </a:p>
          <a:p>
            <a:r>
              <a:rPr lang="en-US" sz="1200"/>
              <a:t>Train/test split method used</a:t>
            </a:r>
            <a:br>
              <a:rPr lang="en-US" sz="1200"/>
            </a:br>
            <a:br>
              <a:rPr lang="en-US" sz="1200"/>
            </a:br>
            <a:r>
              <a:rPr lang="en-US" sz="1200"/>
              <a:t>model validation metrics to report and final values </a:t>
            </a:r>
          </a:p>
          <a:p>
            <a:endParaRPr lang="en-US" sz="1200"/>
          </a:p>
          <a:p>
            <a:r>
              <a:rPr lang="en-US" sz="1200"/>
              <a:t>Filenames for "final ml-ready outputs bullet point in ML model section</a:t>
            </a:r>
          </a:p>
        </p:txBody>
      </p:sp>
    </p:spTree>
    <p:extLst>
      <p:ext uri="{BB962C8B-B14F-4D97-AF65-F5344CB8AC3E}">
        <p14:creationId xmlns:p14="http://schemas.microsoft.com/office/powerpoint/2010/main" val="1305245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Shape 183"/>
        <p:cNvGrpSpPr/>
        <p:nvPr/>
      </p:nvGrpSpPr>
      <p:grpSpPr>
        <a:xfrm>
          <a:off x="0" y="0"/>
          <a:ext cx="0" cy="0"/>
          <a:chOff x="0" y="0"/>
          <a:chExt cx="0" cy="0"/>
        </a:xfrm>
      </p:grpSpPr>
      <p:sp>
        <p:nvSpPr>
          <p:cNvPr id="3" name="Rectangle 2">
            <a:extLst>
              <a:ext uri="{FF2B5EF4-FFF2-40B4-BE49-F238E27FC236}">
                <a16:creationId xmlns:a16="http://schemas.microsoft.com/office/drawing/2014/main" id="{88677BF4-8A1C-CAB0-AF47-C031292D5976}"/>
              </a:ext>
            </a:extLst>
          </p:cNvPr>
          <p:cNvSpPr/>
          <p:nvPr/>
        </p:nvSpPr>
        <p:spPr>
          <a:xfrm>
            <a:off x="5672667" y="3276600"/>
            <a:ext cx="7357534" cy="220134"/>
          </a:xfrm>
          <a:prstGeom prst="rect">
            <a:avLst/>
          </a:prstGeom>
          <a:gradFill flip="none" rotWithShape="1">
            <a:gsLst>
              <a:gs pos="0">
                <a:schemeClr val="tx1">
                  <a:alpha val="0"/>
                </a:schemeClr>
              </a:gs>
              <a:gs pos="100000">
                <a:schemeClr val="tx1">
                  <a:alpha val="5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 name="TextBox 1">
            <a:extLst>
              <a:ext uri="{FF2B5EF4-FFF2-40B4-BE49-F238E27FC236}">
                <a16:creationId xmlns:a16="http://schemas.microsoft.com/office/drawing/2014/main" id="{5A746D18-2552-A118-801C-DC6C8515436D}"/>
              </a:ext>
            </a:extLst>
          </p:cNvPr>
          <p:cNvSpPr txBox="1"/>
          <p:nvPr/>
        </p:nvSpPr>
        <p:spPr>
          <a:xfrm>
            <a:off x="14744478" y="11145253"/>
            <a:ext cx="50799" cy="42333"/>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1B2C96E4-931A-D946-95F7-1269BC44CEE4}"/>
              </a:ext>
            </a:extLst>
          </p:cNvPr>
          <p:cNvSpPr txBox="1"/>
          <p:nvPr/>
        </p:nvSpPr>
        <p:spPr>
          <a:xfrm>
            <a:off x="3218225" y="8690811"/>
            <a:ext cx="50799" cy="42333"/>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5">
            <a:extLst>
              <a:ext uri="{FF2B5EF4-FFF2-40B4-BE49-F238E27FC236}">
                <a16:creationId xmlns:a16="http://schemas.microsoft.com/office/drawing/2014/main" id="{B69C2406-7208-F446-5D25-C28BABF21111}"/>
              </a:ext>
            </a:extLst>
          </p:cNvPr>
          <p:cNvSpPr txBox="1">
            <a:spLocks/>
          </p:cNvSpPr>
          <p:nvPr/>
        </p:nvSpPr>
        <p:spPr>
          <a:xfrm>
            <a:off x="1299713" y="3090863"/>
            <a:ext cx="9592574" cy="6762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800">
                <a:solidFill>
                  <a:schemeClr val="bg1"/>
                </a:solidFill>
              </a:rPr>
              <a:t>Thank you</a:t>
            </a:r>
          </a:p>
        </p:txBody>
      </p:sp>
    </p:spTree>
    <p:extLst>
      <p:ext uri="{BB962C8B-B14F-4D97-AF65-F5344CB8AC3E}">
        <p14:creationId xmlns:p14="http://schemas.microsoft.com/office/powerpoint/2010/main" val="1855807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DE4F4F7A-D2BF-01DE-C10F-6DAB3AAE9F5F}"/>
              </a:ext>
            </a:extLst>
          </p:cNvPr>
          <p:cNvSpPr/>
          <p:nvPr/>
        </p:nvSpPr>
        <p:spPr>
          <a:xfrm>
            <a:off x="322510" y="1714497"/>
            <a:ext cx="11546795" cy="482008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defRPr/>
            </a:pPr>
            <a:endParaRPr lang="en-US" sz="1200">
              <a:solidFill>
                <a:srgbClr val="000000"/>
              </a:solidFill>
            </a:endParaRPr>
          </a:p>
        </p:txBody>
      </p:sp>
      <p:sp>
        <p:nvSpPr>
          <p:cNvPr id="58" name="Rectangle 57">
            <a:extLst>
              <a:ext uri="{FF2B5EF4-FFF2-40B4-BE49-F238E27FC236}">
                <a16:creationId xmlns:a16="http://schemas.microsoft.com/office/drawing/2014/main" id="{584A2E81-A45D-3D69-8AE8-30D984CCF629}"/>
              </a:ext>
            </a:extLst>
          </p:cNvPr>
          <p:cNvSpPr/>
          <p:nvPr/>
        </p:nvSpPr>
        <p:spPr>
          <a:xfrm>
            <a:off x="2770889" y="4488378"/>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63" name="Rectangle 62">
            <a:extLst>
              <a:ext uri="{FF2B5EF4-FFF2-40B4-BE49-F238E27FC236}">
                <a16:creationId xmlns:a16="http://schemas.microsoft.com/office/drawing/2014/main" id="{11BF6244-FC85-97F4-F4EC-0D87D6FC36A2}"/>
              </a:ext>
            </a:extLst>
          </p:cNvPr>
          <p:cNvSpPr/>
          <p:nvPr/>
        </p:nvSpPr>
        <p:spPr>
          <a:xfrm>
            <a:off x="2198760" y="1926065"/>
            <a:ext cx="2274589" cy="492443"/>
          </a:xfrm>
          <a:prstGeom prst="rect">
            <a:avLst/>
          </a:prstGeom>
        </p:spPr>
        <p:txBody>
          <a:bodyPr wrap="square" lIns="0" tIns="0" rIns="0" bIns="0" anchor="t">
            <a:spAutoFit/>
          </a:bodyPr>
          <a:lstStyle/>
          <a:p>
            <a:pPr>
              <a:defRPr/>
            </a:pPr>
            <a:r>
              <a:rPr lang="en-US" sz="1600" b="1">
                <a:cs typeface="Arial"/>
                <a:sym typeface="Gotham Light" pitchFamily="-84" charset="0"/>
              </a:rPr>
              <a:t>Khaled </a:t>
            </a:r>
            <a:r>
              <a:rPr lang="en-US" sz="1600" b="1" err="1">
                <a:cs typeface="Arial"/>
                <a:sym typeface="Gotham Light" pitchFamily="-84" charset="0"/>
              </a:rPr>
              <a:t>Alkurd</a:t>
            </a:r>
            <a:endParaRPr lang="en-US" sz="1600" b="1" i="0" u="none" strike="noStrike" kern="1200" cap="none" spc="0" normalizeH="0" baseline="0" noProof="0">
              <a:ln>
                <a:noFill/>
              </a:ln>
              <a:effectLst/>
              <a:uLnTx/>
              <a:uFillTx/>
              <a:cs typeface="Arial"/>
            </a:endParaRPr>
          </a:p>
          <a:p>
            <a:pPr>
              <a:defRPr/>
            </a:pPr>
            <a:r>
              <a:rPr lang="en-US" sz="1600">
                <a:ea typeface="ヒラギノ角ゴ ProN W3"/>
                <a:sym typeface="Gotham Light" pitchFamily="-84" charset="0"/>
              </a:rPr>
              <a:t>Team Lead</a:t>
            </a:r>
            <a:endParaRPr lang="en-US" sz="1600" b="0" i="0" u="none" strike="noStrike" kern="1200" cap="none" spc="0" normalizeH="0" baseline="0" noProof="0">
              <a:ln>
                <a:noFill/>
              </a:ln>
              <a:effectLst/>
              <a:uLnTx/>
              <a:uFillTx/>
              <a:ea typeface="ヒラギノ角ゴ ProN W3"/>
            </a:endParaRPr>
          </a:p>
        </p:txBody>
      </p:sp>
      <p:sp>
        <p:nvSpPr>
          <p:cNvPr id="321" name="Rectangle 320">
            <a:extLst>
              <a:ext uri="{FF2B5EF4-FFF2-40B4-BE49-F238E27FC236}">
                <a16:creationId xmlns:a16="http://schemas.microsoft.com/office/drawing/2014/main" id="{E45946AE-FC93-C742-E87C-6720DFA6D703}"/>
              </a:ext>
            </a:extLst>
          </p:cNvPr>
          <p:cNvSpPr/>
          <p:nvPr/>
        </p:nvSpPr>
        <p:spPr>
          <a:xfrm>
            <a:off x="2208102" y="2442443"/>
            <a:ext cx="2092368" cy="984885"/>
          </a:xfrm>
          <a:prstGeom prst="rect">
            <a:avLst/>
          </a:prstGeom>
        </p:spPr>
        <p:txBody>
          <a:bodyPr wrap="square" lIns="0" tIns="0" rIns="0" bIns="0" anchor="t">
            <a:spAutoFit/>
          </a:bodyPr>
          <a:lstStyle/>
          <a:p>
            <a:pPr>
              <a:spcAft>
                <a:spcPts val="200"/>
              </a:spcAft>
              <a:defRPr/>
            </a:pPr>
            <a:r>
              <a:rPr lang="en-US" sz="1600">
                <a:ea typeface="+mn-lt"/>
                <a:cs typeface="+mn-lt"/>
              </a:rPr>
              <a:t>•</a:t>
            </a:r>
            <a:r>
              <a:rPr lang="en-US" sz="1600"/>
              <a:t> Forensic Accounting </a:t>
            </a:r>
            <a:br>
              <a:rPr lang="en-US" sz="1600">
                <a:ea typeface="+mn-lt"/>
                <a:cs typeface="+mn-lt"/>
              </a:rPr>
            </a:br>
            <a:r>
              <a:rPr lang="en-US" sz="1600">
                <a:ea typeface="+mn-lt"/>
                <a:cs typeface="+mn-lt"/>
              </a:rPr>
              <a:t>•</a:t>
            </a:r>
            <a:r>
              <a:rPr lang="en-US" sz="1600"/>
              <a:t> Accounting Analytics </a:t>
            </a:r>
            <a:br>
              <a:rPr lang="en-US" sz="1600">
                <a:ea typeface="+mn-lt"/>
                <a:cs typeface="+mn-lt"/>
              </a:rPr>
            </a:br>
            <a:r>
              <a:rPr lang="en-US" sz="1600">
                <a:ea typeface="+mn-lt"/>
                <a:cs typeface="+mn-lt"/>
              </a:rPr>
              <a:t>•</a:t>
            </a:r>
            <a:r>
              <a:rPr lang="en-US" sz="1600"/>
              <a:t> Python • SQL </a:t>
            </a:r>
            <a:r>
              <a:rPr lang="en-US" sz="1600">
                <a:ea typeface="+mn-lt"/>
                <a:cs typeface="+mn-lt"/>
              </a:rPr>
              <a:t>•</a:t>
            </a:r>
            <a:r>
              <a:rPr lang="en-US" sz="1600"/>
              <a:t> R </a:t>
            </a:r>
            <a:br>
              <a:rPr lang="en-US" sz="1600"/>
            </a:br>
            <a:r>
              <a:rPr lang="en-US" sz="1600"/>
              <a:t>• Alteryx • Tableau</a:t>
            </a:r>
          </a:p>
        </p:txBody>
      </p:sp>
      <p:sp>
        <p:nvSpPr>
          <p:cNvPr id="320" name="Rectangle 319">
            <a:extLst>
              <a:ext uri="{FF2B5EF4-FFF2-40B4-BE49-F238E27FC236}">
                <a16:creationId xmlns:a16="http://schemas.microsoft.com/office/drawing/2014/main" id="{92174D91-76B0-EDC1-9A3F-F1700F10E936}"/>
              </a:ext>
            </a:extLst>
          </p:cNvPr>
          <p:cNvSpPr/>
          <p:nvPr/>
        </p:nvSpPr>
        <p:spPr>
          <a:xfrm>
            <a:off x="3973131" y="4285178"/>
            <a:ext cx="1955275" cy="492443"/>
          </a:xfrm>
          <a:prstGeom prst="rect">
            <a:avLst/>
          </a:prstGeom>
        </p:spPr>
        <p:txBody>
          <a:bodyPr wrap="square" lIns="0" tIns="0" rIns="0" bIns="0" anchor="t">
            <a:spAutoFit/>
          </a:bodyPr>
          <a:lstStyle/>
          <a:p>
            <a:pPr>
              <a:defRPr/>
            </a:pPr>
            <a:r>
              <a:rPr lang="en-US" sz="1600" b="1">
                <a:cs typeface="Arial"/>
                <a:sym typeface="Gotham Light" pitchFamily="-84" charset="0"/>
              </a:rPr>
              <a:t>Nikita </a:t>
            </a:r>
            <a:r>
              <a:rPr lang="en-US" sz="1600" b="1" err="1">
                <a:cs typeface="Arial"/>
                <a:sym typeface="Gotham Light" pitchFamily="-84" charset="0"/>
              </a:rPr>
              <a:t>Chandrasing</a:t>
            </a:r>
            <a:endParaRPr lang="en-US" sz="2400" err="1">
              <a:ea typeface="+mn-ea"/>
            </a:endParaRPr>
          </a:p>
          <a:p>
            <a:pPr>
              <a:defRPr/>
            </a:pPr>
            <a:r>
              <a:rPr lang="en-US" sz="1600">
                <a:ea typeface="ヒラギノ角ゴ ProN W3"/>
                <a:sym typeface="Gotham Light" pitchFamily="-84" charset="0"/>
              </a:rPr>
              <a:t>Research Lead</a:t>
            </a:r>
            <a:endParaRPr lang="en-US" sz="1600" b="0" i="0" u="none" strike="noStrike" kern="1200" cap="none" spc="0" normalizeH="0" baseline="0" noProof="0">
              <a:ln>
                <a:noFill/>
              </a:ln>
              <a:effectLst/>
              <a:uLnTx/>
              <a:uFillTx/>
              <a:ea typeface="ヒラギノ角ゴ ProN W3"/>
            </a:endParaRPr>
          </a:p>
        </p:txBody>
      </p:sp>
      <p:sp>
        <p:nvSpPr>
          <p:cNvPr id="322" name="Rectangle 321">
            <a:extLst>
              <a:ext uri="{FF2B5EF4-FFF2-40B4-BE49-F238E27FC236}">
                <a16:creationId xmlns:a16="http://schemas.microsoft.com/office/drawing/2014/main" id="{0955C43A-9049-0B39-46A1-BBE3095A020E}"/>
              </a:ext>
            </a:extLst>
          </p:cNvPr>
          <p:cNvSpPr/>
          <p:nvPr/>
        </p:nvSpPr>
        <p:spPr>
          <a:xfrm>
            <a:off x="3973131" y="4775953"/>
            <a:ext cx="1955275" cy="938719"/>
          </a:xfrm>
          <a:prstGeom prst="rect">
            <a:avLst/>
          </a:prstGeom>
        </p:spPr>
        <p:txBody>
          <a:bodyPr wrap="square" lIns="0" tIns="0" rIns="0" bIns="0" anchor="t">
            <a:spAutoFit/>
          </a:bodyPr>
          <a:lstStyle/>
          <a:p>
            <a:pPr marL="285750" indent="-285750">
              <a:spcAft>
                <a:spcPts val="200"/>
              </a:spcAft>
              <a:buFont typeface="Arial"/>
              <a:buChar char="•"/>
              <a:defRPr/>
            </a:pPr>
            <a:r>
              <a:rPr lang="en-US" sz="1400"/>
              <a:t>Business Analytics</a:t>
            </a:r>
          </a:p>
          <a:p>
            <a:pPr marL="285750" indent="-285750">
              <a:spcAft>
                <a:spcPts val="200"/>
              </a:spcAft>
              <a:buFont typeface="Arial"/>
              <a:buChar char="•"/>
              <a:defRPr/>
            </a:pPr>
            <a:r>
              <a:rPr lang="en-US" sz="1400"/>
              <a:t>Python</a:t>
            </a:r>
          </a:p>
          <a:p>
            <a:pPr marL="285750" indent="-285750">
              <a:spcAft>
                <a:spcPts val="200"/>
              </a:spcAft>
              <a:buFont typeface="Arial"/>
              <a:buChar char="•"/>
              <a:defRPr/>
            </a:pPr>
            <a:r>
              <a:rPr lang="en-US" sz="1400"/>
              <a:t>R</a:t>
            </a:r>
          </a:p>
          <a:p>
            <a:pPr marL="285750" indent="-285750">
              <a:spcAft>
                <a:spcPts val="200"/>
              </a:spcAft>
              <a:buFont typeface="Arial"/>
              <a:buChar char="•"/>
              <a:defRPr/>
            </a:pPr>
            <a:r>
              <a:rPr lang="en-US" sz="1400"/>
              <a:t>SQL</a:t>
            </a:r>
          </a:p>
        </p:txBody>
      </p:sp>
      <p:sp>
        <p:nvSpPr>
          <p:cNvPr id="327" name="Rectangle 326">
            <a:extLst>
              <a:ext uri="{FF2B5EF4-FFF2-40B4-BE49-F238E27FC236}">
                <a16:creationId xmlns:a16="http://schemas.microsoft.com/office/drawing/2014/main" id="{C8A646DE-7ED5-7E53-A34F-CE222489DF8F}"/>
              </a:ext>
            </a:extLst>
          </p:cNvPr>
          <p:cNvSpPr/>
          <p:nvPr/>
        </p:nvSpPr>
        <p:spPr>
          <a:xfrm>
            <a:off x="6178885" y="4488378"/>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35" name="Rectangle 334">
            <a:extLst>
              <a:ext uri="{FF2B5EF4-FFF2-40B4-BE49-F238E27FC236}">
                <a16:creationId xmlns:a16="http://schemas.microsoft.com/office/drawing/2014/main" id="{488A0927-7975-A29C-BFAC-EB20DFA6F6E8}"/>
              </a:ext>
            </a:extLst>
          </p:cNvPr>
          <p:cNvSpPr/>
          <p:nvPr/>
        </p:nvSpPr>
        <p:spPr>
          <a:xfrm>
            <a:off x="6224394" y="1940579"/>
            <a:ext cx="1994287" cy="492443"/>
          </a:xfrm>
          <a:prstGeom prst="rect">
            <a:avLst/>
          </a:prstGeom>
        </p:spPr>
        <p:txBody>
          <a:bodyPr wrap="square" lIns="0" tIns="0" rIns="0" bIns="0" anchor="t">
            <a:spAutoFit/>
          </a:bodyPr>
          <a:lstStyle/>
          <a:p>
            <a:pPr>
              <a:defRPr/>
            </a:pPr>
            <a:r>
              <a:rPr lang="en-US" sz="1600" b="1">
                <a:cs typeface="Arial"/>
                <a:sym typeface="Gotham Light" pitchFamily="-84" charset="0"/>
              </a:rPr>
              <a:t>Pranavi </a:t>
            </a:r>
            <a:r>
              <a:rPr lang="en-US" sz="1600" b="1" err="1">
                <a:cs typeface="Arial"/>
                <a:sym typeface="Gotham Light" pitchFamily="-84" charset="0"/>
              </a:rPr>
              <a:t>Doodala</a:t>
            </a:r>
            <a:endParaRPr kumimoji="0" lang="en-US" sz="1600" b="1" i="0" u="none" strike="noStrike" kern="1200" cap="none" spc="0" normalizeH="0" baseline="0" noProof="0" err="1">
              <a:ln>
                <a:noFill/>
              </a:ln>
              <a:effectLst/>
              <a:uLnTx/>
              <a:uFillTx/>
              <a:ea typeface="+mn-ea"/>
              <a:cs typeface="Arial" pitchFamily="34" charset="0"/>
              <a:sym typeface="Gotham Light" pitchFamily="-84" charset="0"/>
            </a:endParaRPr>
          </a:p>
          <a:p>
            <a:pPr>
              <a:defRPr/>
            </a:pPr>
            <a:r>
              <a:rPr lang="en-US" sz="1600">
                <a:sym typeface="Gotham Light" pitchFamily="-84" charset="0"/>
              </a:rPr>
              <a:t>ML Lead</a:t>
            </a:r>
            <a:endParaRPr lang="en-US" sz="2400"/>
          </a:p>
        </p:txBody>
      </p:sp>
      <p:sp>
        <p:nvSpPr>
          <p:cNvPr id="337" name="Rectangle 336">
            <a:extLst>
              <a:ext uri="{FF2B5EF4-FFF2-40B4-BE49-F238E27FC236}">
                <a16:creationId xmlns:a16="http://schemas.microsoft.com/office/drawing/2014/main" id="{55A8903B-C365-DB64-6426-2DBCE38E7F7E}"/>
              </a:ext>
            </a:extLst>
          </p:cNvPr>
          <p:cNvSpPr/>
          <p:nvPr/>
        </p:nvSpPr>
        <p:spPr>
          <a:xfrm>
            <a:off x="6224395" y="2445602"/>
            <a:ext cx="1464957" cy="1774845"/>
          </a:xfrm>
          <a:prstGeom prst="rect">
            <a:avLst/>
          </a:prstGeom>
        </p:spPr>
        <p:txBody>
          <a:bodyPr wrap="square" lIns="0" tIns="0" rIns="0" bIns="0" anchor="t">
            <a:spAutoFit/>
          </a:bodyPr>
          <a:lstStyle/>
          <a:p>
            <a:pPr>
              <a:spcAft>
                <a:spcPts val="200"/>
              </a:spcAft>
              <a:defRPr/>
            </a:pPr>
            <a:r>
              <a:rPr lang="en-US" sz="1600"/>
              <a:t>• Business Analytics</a:t>
            </a:r>
          </a:p>
          <a:p>
            <a:pPr>
              <a:spcAft>
                <a:spcPts val="200"/>
              </a:spcAft>
              <a:defRPr/>
            </a:pPr>
            <a:r>
              <a:rPr lang="en-US" sz="1600"/>
              <a:t>• Data Science</a:t>
            </a:r>
            <a:br>
              <a:rPr lang="en-US" sz="1600"/>
            </a:br>
            <a:r>
              <a:rPr lang="en-US" sz="1600"/>
              <a:t>• Python • R  </a:t>
            </a:r>
            <a:br>
              <a:rPr lang="en-US" sz="1600"/>
            </a:br>
            <a:br>
              <a:rPr lang="en-US" sz="1600"/>
            </a:br>
            <a:endParaRPr lang="en-US" sz="1600"/>
          </a:p>
          <a:p>
            <a:pPr marL="171450" marR="0" lvl="0" indent="-171450" algn="l" defTabSz="914400">
              <a:spcBef>
                <a:spcPts val="0"/>
              </a:spcBef>
              <a:spcAft>
                <a:spcPts val="200"/>
              </a:spcAft>
              <a:buClrTx/>
              <a:buSzTx/>
              <a:buFont typeface="Arial"/>
              <a:buChar char="•"/>
              <a:tabLst/>
              <a:defRPr/>
            </a:pPr>
            <a:endParaRPr lang="en-US" sz="1600"/>
          </a:p>
        </p:txBody>
      </p:sp>
      <p:sp>
        <p:nvSpPr>
          <p:cNvPr id="336" name="Rectangle 335">
            <a:extLst>
              <a:ext uri="{FF2B5EF4-FFF2-40B4-BE49-F238E27FC236}">
                <a16:creationId xmlns:a16="http://schemas.microsoft.com/office/drawing/2014/main" id="{27BB8356-4377-E23A-57A9-5480FCF93D3F}"/>
              </a:ext>
            </a:extLst>
          </p:cNvPr>
          <p:cNvSpPr/>
          <p:nvPr/>
        </p:nvSpPr>
        <p:spPr>
          <a:xfrm>
            <a:off x="7294823" y="4488378"/>
            <a:ext cx="1994287" cy="430887"/>
          </a:xfrm>
          <a:prstGeom prst="rect">
            <a:avLst/>
          </a:prstGeom>
        </p:spPr>
        <p:txBody>
          <a:bodyPr wrap="square" lIns="0" tIns="0" rIns="0" bIns="0" anchor="t">
            <a:spAutoFit/>
          </a:bodyPr>
          <a:lstStyle/>
          <a:p>
            <a:pPr>
              <a:defRPr/>
            </a:pPr>
            <a:r>
              <a:rPr lang="en-US" sz="1400" b="1">
                <a:cs typeface="Arial"/>
                <a:sym typeface="Gotham Light" pitchFamily="-84" charset="0"/>
              </a:rPr>
              <a:t>Andy Yaro</a:t>
            </a:r>
            <a:endParaRPr lang="en-US" sz="2000">
              <a:ea typeface="+mn-ea"/>
            </a:endParaRPr>
          </a:p>
          <a:p>
            <a:pPr>
              <a:defRPr/>
            </a:pPr>
            <a:r>
              <a:rPr lang="en-US" sz="1400">
                <a:ea typeface="ヒラギノ角ゴ ProN W3"/>
                <a:sym typeface="Gotham Light" pitchFamily="-84" charset="0"/>
              </a:rPr>
              <a:t>Documentation Lead</a:t>
            </a:r>
            <a:endParaRPr lang="en-US" sz="1400" b="0" i="0" u="none" strike="noStrike" kern="1200" cap="none" spc="0" normalizeH="0" baseline="0" noProof="0">
              <a:ln>
                <a:noFill/>
              </a:ln>
              <a:effectLst/>
              <a:uLnTx/>
              <a:uFillTx/>
              <a:ea typeface="ヒラギノ角ゴ ProN W3"/>
            </a:endParaRPr>
          </a:p>
        </p:txBody>
      </p:sp>
      <p:sp>
        <p:nvSpPr>
          <p:cNvPr id="338" name="Rectangle 337">
            <a:extLst>
              <a:ext uri="{FF2B5EF4-FFF2-40B4-BE49-F238E27FC236}">
                <a16:creationId xmlns:a16="http://schemas.microsoft.com/office/drawing/2014/main" id="{62CF2DC3-4DEC-23FF-AF6B-D0BB145DFA79}"/>
              </a:ext>
            </a:extLst>
          </p:cNvPr>
          <p:cNvSpPr/>
          <p:nvPr/>
        </p:nvSpPr>
        <p:spPr>
          <a:xfrm>
            <a:off x="7294823" y="4979153"/>
            <a:ext cx="2443867" cy="938719"/>
          </a:xfrm>
          <a:prstGeom prst="rect">
            <a:avLst/>
          </a:prstGeom>
        </p:spPr>
        <p:txBody>
          <a:bodyPr wrap="square" lIns="0" tIns="0" rIns="0" bIns="0" anchor="t">
            <a:spAutoFit/>
          </a:bodyPr>
          <a:lstStyle/>
          <a:p>
            <a:pPr marL="285750" indent="-285750">
              <a:spcAft>
                <a:spcPts val="200"/>
              </a:spcAft>
              <a:buFont typeface="Arial"/>
              <a:buChar char="•"/>
              <a:defRPr/>
            </a:pPr>
            <a:r>
              <a:rPr lang="en-US" sz="1400"/>
              <a:t>Cybersecurity Engineering</a:t>
            </a:r>
          </a:p>
          <a:p>
            <a:pPr marL="285750" indent="-285750">
              <a:spcAft>
                <a:spcPts val="200"/>
              </a:spcAft>
              <a:buFont typeface="Arial"/>
              <a:buChar char="•"/>
              <a:defRPr/>
            </a:pPr>
            <a:r>
              <a:rPr lang="en-US" sz="1400"/>
              <a:t>Python </a:t>
            </a:r>
          </a:p>
          <a:p>
            <a:pPr marL="285750" indent="-285750">
              <a:spcAft>
                <a:spcPts val="200"/>
              </a:spcAft>
              <a:buFont typeface="Arial"/>
              <a:buChar char="•"/>
              <a:defRPr/>
            </a:pPr>
            <a:r>
              <a:rPr lang="en-US" sz="1400"/>
              <a:t>Git / </a:t>
            </a:r>
            <a:r>
              <a:rPr lang="en-US" sz="1400" err="1"/>
              <a:t>Github</a:t>
            </a:r>
            <a:r>
              <a:rPr lang="en-US" sz="1400"/>
              <a:t> </a:t>
            </a:r>
          </a:p>
          <a:p>
            <a:pPr marL="285750" indent="-285750">
              <a:spcAft>
                <a:spcPts val="200"/>
              </a:spcAft>
              <a:buFont typeface="Arial"/>
              <a:buChar char="•"/>
              <a:defRPr/>
            </a:pPr>
            <a:r>
              <a:rPr lang="en-US" sz="1400"/>
              <a:t>Technical Writing</a:t>
            </a:r>
          </a:p>
        </p:txBody>
      </p:sp>
      <p:sp>
        <p:nvSpPr>
          <p:cNvPr id="339" name="Rectangle 338">
            <a:extLst>
              <a:ext uri="{FF2B5EF4-FFF2-40B4-BE49-F238E27FC236}">
                <a16:creationId xmlns:a16="http://schemas.microsoft.com/office/drawing/2014/main" id="{55A46607-7703-3FD3-E434-5A90D064059D}"/>
              </a:ext>
            </a:extLst>
          </p:cNvPr>
          <p:cNvSpPr/>
          <p:nvPr/>
        </p:nvSpPr>
        <p:spPr>
          <a:xfrm>
            <a:off x="9138962" y="3117858"/>
            <a:ext cx="2340855" cy="184666"/>
          </a:xfrm>
          <a:prstGeom prst="rect">
            <a:avLst/>
          </a:prstGeom>
        </p:spPr>
        <p:txBody>
          <a:bodyPr wrap="square" lIns="0" tIns="0" rIns="0" bIns="0" anchor="t">
            <a:spAutoFit/>
          </a:bodyPr>
          <a:lstStyle/>
          <a:p>
            <a:pPr marL="171450" marR="0" lvl="0" indent="-171450" algn="l" defTabSz="914400" rtl="0" eaLnBrk="1" fontAlgn="auto" latinLnBrk="0" hangingPunct="1">
              <a:spcBef>
                <a:spcPts val="0"/>
              </a:spcBef>
              <a:spcAft>
                <a:spcPts val="200"/>
              </a:spcAft>
              <a:buClrTx/>
              <a:buSzTx/>
              <a:buFont typeface="Arial"/>
              <a:buChar char="•"/>
              <a:tabLst/>
              <a:defRPr/>
            </a:pPr>
            <a:endParaRPr lang="en-US" sz="1200" b="0" i="0" u="none" strike="noStrike" kern="1200" cap="none" spc="0" normalizeH="0" baseline="0" noProof="0">
              <a:ln>
                <a:noFill/>
              </a:ln>
              <a:effectLst/>
              <a:uLnTx/>
              <a:uFillTx/>
            </a:endParaRPr>
          </a:p>
        </p:txBody>
      </p:sp>
      <p:sp>
        <p:nvSpPr>
          <p:cNvPr id="340" name="Rectangle 339">
            <a:extLst>
              <a:ext uri="{FF2B5EF4-FFF2-40B4-BE49-F238E27FC236}">
                <a16:creationId xmlns:a16="http://schemas.microsoft.com/office/drawing/2014/main" id="{EB58CB77-2141-ADC1-21E4-CE34C6C550BA}"/>
              </a:ext>
            </a:extLst>
          </p:cNvPr>
          <p:cNvSpPr/>
          <p:nvPr/>
        </p:nvSpPr>
        <p:spPr>
          <a:xfrm>
            <a:off x="9988050" y="1940579"/>
            <a:ext cx="2340855" cy="492443"/>
          </a:xfrm>
          <a:prstGeom prst="rect">
            <a:avLst/>
          </a:prstGeom>
        </p:spPr>
        <p:txBody>
          <a:bodyPr wrap="square" lIns="0" tIns="0" rIns="0" bIns="0" anchor="t">
            <a:spAutoFit/>
          </a:bodyPr>
          <a:lstStyle/>
          <a:p>
            <a:pPr>
              <a:defRPr/>
            </a:pPr>
            <a:r>
              <a:rPr lang="en-US" sz="1600" b="1">
                <a:cs typeface="Arial"/>
                <a:sym typeface="Gotham Light" pitchFamily="-84" charset="0"/>
              </a:rPr>
              <a:t>Mariam </a:t>
            </a:r>
            <a:r>
              <a:rPr lang="en-US" sz="1600" b="1" err="1">
                <a:cs typeface="Arial"/>
                <a:sym typeface="Gotham Light" pitchFamily="-84" charset="0"/>
              </a:rPr>
              <a:t>Debas</a:t>
            </a:r>
            <a:endParaRPr lang="en-US" sz="1600" b="1" i="0" u="none" strike="noStrike" kern="1200" cap="none" spc="0" normalizeH="0" baseline="0" noProof="0" err="1">
              <a:ln>
                <a:noFill/>
              </a:ln>
              <a:effectLst/>
              <a:uLnTx/>
              <a:uFillTx/>
              <a:cs typeface="Arial" pitchFamily="34" charset="0"/>
            </a:endParaRPr>
          </a:p>
          <a:p>
            <a:pPr>
              <a:defRPr/>
            </a:pPr>
            <a:r>
              <a:rPr lang="en-US" sz="1600">
                <a:sym typeface="Gotham Light" pitchFamily="-84" charset="0"/>
              </a:rPr>
              <a:t>Visualization Lead</a:t>
            </a:r>
            <a:endParaRPr lang="en-US" sz="2400"/>
          </a:p>
        </p:txBody>
      </p:sp>
      <p:pic>
        <p:nvPicPr>
          <p:cNvPr id="4" name="Picture 3" descr="A person in a suit and tie&#10;&#10;AI-generated content may be incorrect.">
            <a:extLst>
              <a:ext uri="{FF2B5EF4-FFF2-40B4-BE49-F238E27FC236}">
                <a16:creationId xmlns:a16="http://schemas.microsoft.com/office/drawing/2014/main" id="{310C9F2A-4E6E-0F6C-F5DB-7FB43B4C619A}"/>
              </a:ext>
            </a:extLst>
          </p:cNvPr>
          <p:cNvPicPr>
            <a:picLocks noChangeAspect="1"/>
          </p:cNvPicPr>
          <p:nvPr/>
        </p:nvPicPr>
        <p:blipFill>
          <a:blip r:embed="rId6"/>
          <a:srcRect t="-146" b="17172"/>
          <a:stretch>
            <a:fillRect/>
          </a:stretch>
        </p:blipFill>
        <p:spPr>
          <a:xfrm flipH="1">
            <a:off x="470844" y="1941862"/>
            <a:ext cx="1647330" cy="1922192"/>
          </a:xfrm>
          <a:prstGeom prst="rect">
            <a:avLst/>
          </a:prstGeom>
        </p:spPr>
      </p:pic>
      <p:sp>
        <p:nvSpPr>
          <p:cNvPr id="18" name="Google Shape;538;p14">
            <a:extLst>
              <a:ext uri="{FF2B5EF4-FFF2-40B4-BE49-F238E27FC236}">
                <a16:creationId xmlns:a16="http://schemas.microsoft.com/office/drawing/2014/main" id="{0F872510-2E88-B5AF-9DDA-2DCEF7A4BD0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Title 1">
            <a:extLst>
              <a:ext uri="{FF2B5EF4-FFF2-40B4-BE49-F238E27FC236}">
                <a16:creationId xmlns:a16="http://schemas.microsoft.com/office/drawing/2014/main" id="{BC7CD9CA-AC3B-836C-3F58-5EECAEB27498}"/>
              </a:ext>
            </a:extLst>
          </p:cNvPr>
          <p:cNvSpPr txBox="1">
            <a:spLocks/>
          </p:cNvSpPr>
          <p:nvPr/>
        </p:nvSpPr>
        <p:spPr>
          <a:xfrm>
            <a:off x="324387" y="612601"/>
            <a:ext cx="10236152" cy="801858"/>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highlight>
                  <a:srgbClr val="FFFFFF"/>
                </a:highlight>
                <a:latin typeface="Arial"/>
                <a:cs typeface="Arial"/>
              </a:rPr>
              <a:t>Meet The Fiscal Patriots</a:t>
            </a:r>
            <a:endParaRPr lang="en-US"/>
          </a:p>
        </p:txBody>
      </p:sp>
      <p:pic>
        <p:nvPicPr>
          <p:cNvPr id="2" name="Picture 1" descr="A person in a white dress&#10;&#10;AI-generated content may be incorrect.">
            <a:extLst>
              <a:ext uri="{FF2B5EF4-FFF2-40B4-BE49-F238E27FC236}">
                <a16:creationId xmlns:a16="http://schemas.microsoft.com/office/drawing/2014/main" id="{99C0BDEF-BDF9-1F02-BDFE-7486165D8E64}"/>
              </a:ext>
            </a:extLst>
          </p:cNvPr>
          <p:cNvPicPr>
            <a:picLocks noChangeAspect="1"/>
          </p:cNvPicPr>
          <p:nvPr/>
        </p:nvPicPr>
        <p:blipFill>
          <a:blip r:embed="rId7"/>
          <a:srcRect l="7237" t="-981" r="-426" b="7782"/>
          <a:stretch>
            <a:fillRect/>
          </a:stretch>
        </p:blipFill>
        <p:spPr>
          <a:xfrm>
            <a:off x="4410956" y="1897046"/>
            <a:ext cx="1701571" cy="2122662"/>
          </a:xfrm>
          <a:prstGeom prst="rect">
            <a:avLst/>
          </a:prstGeom>
        </p:spPr>
      </p:pic>
      <p:pic>
        <p:nvPicPr>
          <p:cNvPr id="8" name="Picture 7" descr="A person in a suit&#10;&#10;AI-generated content may be incorrect.">
            <a:extLst>
              <a:ext uri="{FF2B5EF4-FFF2-40B4-BE49-F238E27FC236}">
                <a16:creationId xmlns:a16="http://schemas.microsoft.com/office/drawing/2014/main" id="{8C54B0FD-6B85-B3FA-44EA-9C172FC0FCAE}"/>
              </a:ext>
            </a:extLst>
          </p:cNvPr>
          <p:cNvPicPr>
            <a:picLocks noChangeAspect="1"/>
          </p:cNvPicPr>
          <p:nvPr/>
        </p:nvPicPr>
        <p:blipFill>
          <a:blip r:embed="rId8"/>
          <a:srcRect t="151" r="901" b="16071"/>
          <a:stretch>
            <a:fillRect/>
          </a:stretch>
        </p:blipFill>
        <p:spPr>
          <a:xfrm>
            <a:off x="8229167" y="1922485"/>
            <a:ext cx="1680495" cy="2078932"/>
          </a:xfrm>
          <a:prstGeom prst="rect">
            <a:avLst/>
          </a:prstGeom>
        </p:spPr>
      </p:pic>
      <p:sp>
        <p:nvSpPr>
          <p:cNvPr id="11" name="Rectangle 10">
            <a:extLst>
              <a:ext uri="{FF2B5EF4-FFF2-40B4-BE49-F238E27FC236}">
                <a16:creationId xmlns:a16="http://schemas.microsoft.com/office/drawing/2014/main" id="{102DCD87-6854-1F7B-1C73-DF150A43F62F}"/>
              </a:ext>
            </a:extLst>
          </p:cNvPr>
          <p:cNvSpPr/>
          <p:nvPr/>
        </p:nvSpPr>
        <p:spPr>
          <a:xfrm>
            <a:off x="7434113" y="5118443"/>
            <a:ext cx="1994287" cy="184666"/>
          </a:xfrm>
          <a:prstGeom prst="rect">
            <a:avLst/>
          </a:prstGeom>
        </p:spPr>
        <p:txBody>
          <a:bodyPr wrap="square" lIns="0" tIns="0" rIns="0" bIns="0" anchor="t">
            <a:spAutoFit/>
          </a:bodyPr>
          <a:lstStyle/>
          <a:p>
            <a:pPr marL="171450" marR="0" lvl="0" indent="-171450" algn="l" defTabSz="914400" rtl="0" eaLnBrk="1" fontAlgn="auto" latinLnBrk="0" hangingPunct="1">
              <a:spcBef>
                <a:spcPts val="0"/>
              </a:spcBef>
              <a:spcAft>
                <a:spcPts val="200"/>
              </a:spcAft>
              <a:buClrTx/>
              <a:buSzTx/>
              <a:buFont typeface="Arial"/>
              <a:buChar char="•"/>
              <a:tabLst/>
              <a:defRPr/>
            </a:pPr>
            <a:endParaRPr lang="en-US" sz="1200" b="0" i="0" u="none" strike="noStrike" kern="1200" cap="none" spc="0" normalizeH="0" baseline="0" noProof="0">
              <a:ln>
                <a:noFill/>
              </a:ln>
              <a:effectLst/>
              <a:uLnTx/>
              <a:uFillTx/>
            </a:endParaRPr>
          </a:p>
        </p:txBody>
      </p:sp>
      <p:sp>
        <p:nvSpPr>
          <p:cNvPr id="12" name="Rectangle 11">
            <a:extLst>
              <a:ext uri="{FF2B5EF4-FFF2-40B4-BE49-F238E27FC236}">
                <a16:creationId xmlns:a16="http://schemas.microsoft.com/office/drawing/2014/main" id="{65E1CF06-9E8E-FF83-84EC-A5389403EA20}"/>
              </a:ext>
            </a:extLst>
          </p:cNvPr>
          <p:cNvSpPr/>
          <p:nvPr/>
        </p:nvSpPr>
        <p:spPr>
          <a:xfrm>
            <a:off x="9015467" y="3078249"/>
            <a:ext cx="1994287" cy="184666"/>
          </a:xfrm>
          <a:prstGeom prst="rect">
            <a:avLst/>
          </a:prstGeom>
        </p:spPr>
        <p:txBody>
          <a:bodyPr wrap="square" lIns="0" tIns="0" rIns="0" bIns="0" anchor="t">
            <a:spAutoFit/>
          </a:bodyPr>
          <a:lstStyle/>
          <a:p>
            <a:pPr marL="171450" marR="0" lvl="0" indent="-171450" algn="l" defTabSz="914400" rtl="0" eaLnBrk="1" fontAlgn="auto" latinLnBrk="0" hangingPunct="1">
              <a:spcBef>
                <a:spcPts val="0"/>
              </a:spcBef>
              <a:spcAft>
                <a:spcPts val="200"/>
              </a:spcAft>
              <a:buClrTx/>
              <a:buSzTx/>
              <a:buFont typeface="Arial"/>
              <a:buChar char="•"/>
              <a:tabLst/>
              <a:defRPr/>
            </a:pPr>
            <a:endParaRPr lang="en-US" sz="1200"/>
          </a:p>
        </p:txBody>
      </p:sp>
      <p:sp>
        <p:nvSpPr>
          <p:cNvPr id="13" name="Rectangle 12">
            <a:extLst>
              <a:ext uri="{FF2B5EF4-FFF2-40B4-BE49-F238E27FC236}">
                <a16:creationId xmlns:a16="http://schemas.microsoft.com/office/drawing/2014/main" id="{20487F84-8FE3-8DC0-D107-902DADC7ED8B}"/>
              </a:ext>
            </a:extLst>
          </p:cNvPr>
          <p:cNvSpPr/>
          <p:nvPr/>
        </p:nvSpPr>
        <p:spPr>
          <a:xfrm>
            <a:off x="9138370" y="3250313"/>
            <a:ext cx="2231899" cy="176473"/>
          </a:xfrm>
          <a:prstGeom prst="rect">
            <a:avLst/>
          </a:prstGeom>
        </p:spPr>
        <p:txBody>
          <a:bodyPr wrap="square" lIns="0" tIns="0" rIns="0" bIns="0" anchor="t">
            <a:spAutoFit/>
          </a:bodyPr>
          <a:lstStyle/>
          <a:p>
            <a:pPr marL="171450" indent="-171450">
              <a:spcAft>
                <a:spcPts val="200"/>
              </a:spcAft>
              <a:buFont typeface="Arial"/>
              <a:buChar char="•"/>
              <a:defRPr/>
            </a:pPr>
            <a:endParaRPr lang="en-US" sz="1200"/>
          </a:p>
        </p:txBody>
      </p:sp>
      <p:sp>
        <p:nvSpPr>
          <p:cNvPr id="15" name="TextBox 14">
            <a:extLst>
              <a:ext uri="{FF2B5EF4-FFF2-40B4-BE49-F238E27FC236}">
                <a16:creationId xmlns:a16="http://schemas.microsoft.com/office/drawing/2014/main" id="{7422BD5E-83D2-85FA-74F9-3755755A69BB}"/>
              </a:ext>
            </a:extLst>
          </p:cNvPr>
          <p:cNvSpPr txBox="1"/>
          <p:nvPr/>
        </p:nvSpPr>
        <p:spPr>
          <a:xfrm>
            <a:off x="9159205" y="3106603"/>
            <a:ext cx="1167195" cy="5377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21" name="TextBox 20">
            <a:extLst>
              <a:ext uri="{FF2B5EF4-FFF2-40B4-BE49-F238E27FC236}">
                <a16:creationId xmlns:a16="http://schemas.microsoft.com/office/drawing/2014/main" id="{41FC1D2C-CB05-9CAA-61C6-5F6E91F79468}"/>
              </a:ext>
            </a:extLst>
          </p:cNvPr>
          <p:cNvSpPr txBox="1"/>
          <p:nvPr/>
        </p:nvSpPr>
        <p:spPr>
          <a:xfrm>
            <a:off x="9995625" y="2414172"/>
            <a:ext cx="1699643"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Aptos"/>
              </a:rPr>
              <a:t>•</a:t>
            </a:r>
            <a:r>
              <a:rPr lang="en-US" sz="1600" baseline="0">
                <a:latin typeface="Aptos"/>
              </a:rPr>
              <a:t> Accounting </a:t>
            </a:r>
            <a:endParaRPr lang="en-US" sz="1600">
              <a:latin typeface="Aptos"/>
            </a:endParaRPr>
          </a:p>
          <a:p>
            <a:r>
              <a:rPr lang="en-US" sz="1600">
                <a:latin typeface="Aptos"/>
              </a:rPr>
              <a:t>• Data Analytics</a:t>
            </a:r>
            <a:br>
              <a:rPr lang="en-US" sz="1600">
                <a:latin typeface="Aptos"/>
                <a:ea typeface="Aptos"/>
                <a:cs typeface="Aptos"/>
              </a:rPr>
            </a:br>
            <a:r>
              <a:rPr lang="en-US" sz="1600">
                <a:latin typeface="Aptos"/>
              </a:rPr>
              <a:t>•</a:t>
            </a:r>
            <a:r>
              <a:rPr lang="en-US" sz="1600" baseline="0">
                <a:latin typeface="Aptos"/>
              </a:rPr>
              <a:t> </a:t>
            </a:r>
            <a:r>
              <a:rPr lang="en-US" sz="1600">
                <a:latin typeface="Aptos"/>
              </a:rPr>
              <a:t>Tableau</a:t>
            </a:r>
            <a:r>
              <a:rPr lang="en-US" sz="1600" baseline="0">
                <a:latin typeface="Aptos"/>
              </a:rPr>
              <a:t> • R </a:t>
            </a:r>
            <a:r>
              <a:rPr lang="en-US" sz="1600">
                <a:latin typeface="Aptos"/>
                <a:ea typeface="Aptos"/>
                <a:cs typeface="Aptos"/>
              </a:rPr>
              <a:t>​</a:t>
            </a:r>
            <a:br>
              <a:rPr lang="en-US" sz="1600">
                <a:latin typeface="Aptos"/>
                <a:ea typeface="Aptos"/>
                <a:cs typeface="Aptos"/>
              </a:rPr>
            </a:br>
            <a:endParaRPr lang="en-US" sz="1600"/>
          </a:p>
          <a:p>
            <a:pPr algn="ctr"/>
            <a:endParaRPr lang="en-US" sz="2400"/>
          </a:p>
        </p:txBody>
      </p:sp>
      <p:pic>
        <p:nvPicPr>
          <p:cNvPr id="3" name="Picture 2" descr="Nikita Chandrasing">
            <a:extLst>
              <a:ext uri="{FF2B5EF4-FFF2-40B4-BE49-F238E27FC236}">
                <a16:creationId xmlns:a16="http://schemas.microsoft.com/office/drawing/2014/main" id="{D3364457-BE39-9237-13D5-7B01062F2FD2}"/>
              </a:ext>
            </a:extLst>
          </p:cNvPr>
          <p:cNvPicPr>
            <a:picLocks noChangeAspect="1"/>
          </p:cNvPicPr>
          <p:nvPr/>
        </p:nvPicPr>
        <p:blipFill>
          <a:blip r:embed="rId9"/>
          <a:stretch>
            <a:fillRect/>
          </a:stretch>
        </p:blipFill>
        <p:spPr>
          <a:xfrm>
            <a:off x="2120102" y="4308711"/>
            <a:ext cx="1737360" cy="1822704"/>
          </a:xfrm>
          <a:prstGeom prst="rect">
            <a:avLst/>
          </a:prstGeom>
        </p:spPr>
      </p:pic>
    </p:spTree>
    <p:extLst>
      <p:ext uri="{BB962C8B-B14F-4D97-AF65-F5344CB8AC3E}">
        <p14:creationId xmlns:p14="http://schemas.microsoft.com/office/powerpoint/2010/main" val="3572240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C645B77-2AD6-1BC6-2E07-D4C99046D4A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308EA-5090-9743-3FC4-311FE773F3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FA308EA-5090-9743-3FC4-311FE773F3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07DBDE-42B6-1AC3-BD25-C992D0A8FA7F}"/>
              </a:ext>
            </a:extLst>
          </p:cNvPr>
          <p:cNvSpPr>
            <a:spLocks noGrp="1"/>
          </p:cNvSpPr>
          <p:nvPr>
            <p:ph type="title"/>
          </p:nvPr>
        </p:nvSpPr>
        <p:spPr>
          <a:xfrm>
            <a:off x="563596" y="284208"/>
            <a:ext cx="10985063" cy="731520"/>
          </a:xfrm>
        </p:spPr>
        <p:txBody>
          <a:bodyPr/>
          <a:lstStyle/>
          <a:p>
            <a:r>
              <a:rPr lang="en-US">
                <a:ea typeface="+mj-lt"/>
                <a:cs typeface="+mj-lt"/>
              </a:rPr>
              <a:t>Closing the Gap - Recommendations</a:t>
            </a:r>
            <a:endParaRPr lang="en-US" err="1"/>
          </a:p>
        </p:txBody>
      </p:sp>
      <p:sp>
        <p:nvSpPr>
          <p:cNvPr id="22" name="Google Shape;934;p251">
            <a:extLst>
              <a:ext uri="{FF2B5EF4-FFF2-40B4-BE49-F238E27FC236}">
                <a16:creationId xmlns:a16="http://schemas.microsoft.com/office/drawing/2014/main" id="{FA925C7A-7438-1EA0-039B-B56F310D9AF1}"/>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51ED15C8-3ACD-FDD7-59D9-78C59261E0B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23" name="Google Shape;507;p14">
            <a:extLst>
              <a:ext uri="{FF2B5EF4-FFF2-40B4-BE49-F238E27FC236}">
                <a16:creationId xmlns:a16="http://schemas.microsoft.com/office/drawing/2014/main" id="{F23EE177-2B0D-5C4C-2EAF-A010DE1E0D2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AC (FY2016-2024), SAM.gov Public Extract 25361 (Dec 27, 2025)</a:t>
            </a:r>
            <a:endParaRPr lang="en-US"/>
          </a:p>
        </p:txBody>
      </p:sp>
      <p:sp>
        <p:nvSpPr>
          <p:cNvPr id="17" name="Title 1">
            <a:extLst>
              <a:ext uri="{FF2B5EF4-FFF2-40B4-BE49-F238E27FC236}">
                <a16:creationId xmlns:a16="http://schemas.microsoft.com/office/drawing/2014/main" id="{699D3786-4EF6-3CD4-6FFE-B5A77D00BA78}"/>
              </a:ext>
            </a:extLst>
          </p:cNvPr>
          <p:cNvSpPr txBox="1">
            <a:spLocks/>
          </p:cNvSpPr>
          <p:nvPr/>
        </p:nvSpPr>
        <p:spPr>
          <a:xfrm>
            <a:off x="478931" y="1123902"/>
            <a:ext cx="2762434" cy="3361165"/>
          </a:xfrm>
          <a:prstGeom prst="roundRect">
            <a:avLst/>
          </a:prstGeom>
          <a:ln/>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FFFFFF"/>
                </a:solidFill>
                <a:ea typeface="+mj-lt"/>
                <a:cs typeface="+mj-lt"/>
              </a:rPr>
              <a:t>01</a:t>
            </a:r>
          </a:p>
          <a:p>
            <a:r>
              <a:rPr lang="en-US" sz="2000" b="1">
                <a:solidFill>
                  <a:srgbClr val="FFFFFF"/>
                </a:solidFill>
              </a:rPr>
              <a:t>Closing the 72% Blind Spot</a:t>
            </a:r>
          </a:p>
          <a:p>
            <a:pPr marL="342900" indent="-342900">
              <a:lnSpc>
                <a:spcPct val="100000"/>
              </a:lnSpc>
              <a:buFont typeface="Arial"/>
              <a:buChar char="•"/>
            </a:pPr>
            <a:r>
              <a:rPr lang="en-US" sz="2000">
                <a:solidFill>
                  <a:srgbClr val="FFFFFF"/>
                </a:solidFill>
                <a:ea typeface="+mj-lt"/>
                <a:cs typeface="+mj-lt"/>
              </a:rPr>
              <a:t>Require UEIs for all SAM exclusion records</a:t>
            </a:r>
          </a:p>
          <a:p>
            <a:pPr marL="342900" indent="-342900">
              <a:lnSpc>
                <a:spcPct val="100000"/>
              </a:lnSpc>
              <a:buFont typeface="Arial"/>
              <a:buChar char="•"/>
            </a:pPr>
            <a:r>
              <a:rPr lang="en-US" sz="2000">
                <a:solidFill>
                  <a:srgbClr val="FFFFFF"/>
                </a:solidFill>
                <a:ea typeface="+mj-lt"/>
                <a:cs typeface="+mj-lt"/>
              </a:rPr>
              <a:t>Retroactively assign UEIs where feasible</a:t>
            </a:r>
          </a:p>
        </p:txBody>
      </p:sp>
      <p:sp>
        <p:nvSpPr>
          <p:cNvPr id="21" name="Title 1">
            <a:extLst>
              <a:ext uri="{FF2B5EF4-FFF2-40B4-BE49-F238E27FC236}">
                <a16:creationId xmlns:a16="http://schemas.microsoft.com/office/drawing/2014/main" id="{FB8DE4AD-BB5A-AA3E-4E8B-4DFE4E9F9BBB}"/>
              </a:ext>
            </a:extLst>
          </p:cNvPr>
          <p:cNvSpPr txBox="1">
            <a:spLocks/>
          </p:cNvSpPr>
          <p:nvPr/>
        </p:nvSpPr>
        <p:spPr>
          <a:xfrm>
            <a:off x="3368195" y="1123901"/>
            <a:ext cx="2762434" cy="3361165"/>
          </a:xfrm>
          <a:prstGeom prst="roundRect">
            <a:avLst/>
          </a:prstGeom>
          <a:ln/>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FFFFFF"/>
                </a:solidFill>
                <a:ea typeface="+mj-lt"/>
                <a:cs typeface="+mj-lt"/>
              </a:rPr>
              <a:t>02</a:t>
            </a:r>
          </a:p>
          <a:p>
            <a:r>
              <a:rPr lang="en-US" sz="2000" b="1">
                <a:solidFill>
                  <a:srgbClr val="FFFFFF"/>
                </a:solidFill>
                <a:ea typeface="+mj-lt"/>
                <a:cs typeface="+mj-lt"/>
              </a:rPr>
              <a:t>Enabling Cross-System Verification</a:t>
            </a:r>
            <a:endParaRPr lang="en-US">
              <a:solidFill>
                <a:srgbClr val="FFFFFF"/>
              </a:solidFill>
            </a:endParaRPr>
          </a:p>
          <a:p>
            <a:pPr marL="342900" indent="-342900">
              <a:lnSpc>
                <a:spcPct val="100000"/>
              </a:lnSpc>
              <a:buFont typeface="Arial"/>
              <a:buChar char="•"/>
            </a:pPr>
            <a:r>
              <a:rPr lang="en-US" sz="2000">
                <a:solidFill>
                  <a:srgbClr val="FFFFFF"/>
                </a:solidFill>
                <a:ea typeface="+mj-lt"/>
                <a:cs typeface="+mj-lt"/>
              </a:rPr>
              <a:t>Automate pre-payment exclusion screening</a:t>
            </a:r>
          </a:p>
          <a:p>
            <a:pPr marL="342900" indent="-342900">
              <a:lnSpc>
                <a:spcPct val="100000"/>
              </a:lnSpc>
              <a:buFont typeface="Arial"/>
              <a:buChar char="•"/>
            </a:pPr>
            <a:r>
              <a:rPr lang="en-US" sz="2000">
                <a:solidFill>
                  <a:srgbClr val="FFFFFF"/>
                </a:solidFill>
                <a:ea typeface="+mj-lt"/>
                <a:cs typeface="+mj-lt"/>
              </a:rPr>
              <a:t>Eliminate reliance on error-prone manual checks</a:t>
            </a:r>
            <a:endParaRPr lang="en-US">
              <a:solidFill>
                <a:srgbClr val="FFFFFF"/>
              </a:solidFill>
            </a:endParaRPr>
          </a:p>
        </p:txBody>
      </p:sp>
      <p:sp>
        <p:nvSpPr>
          <p:cNvPr id="3" name="Title 1">
            <a:extLst>
              <a:ext uri="{FF2B5EF4-FFF2-40B4-BE49-F238E27FC236}">
                <a16:creationId xmlns:a16="http://schemas.microsoft.com/office/drawing/2014/main" id="{9A2813D2-DB41-398B-C230-CAF012D68CBA}"/>
              </a:ext>
            </a:extLst>
          </p:cNvPr>
          <p:cNvSpPr txBox="1">
            <a:spLocks/>
          </p:cNvSpPr>
          <p:nvPr/>
        </p:nvSpPr>
        <p:spPr>
          <a:xfrm>
            <a:off x="6301088" y="1123901"/>
            <a:ext cx="2936747" cy="3361165"/>
          </a:xfrm>
          <a:prstGeom prst="roundRect">
            <a:avLst/>
          </a:prstGeom>
          <a:ln/>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FFFFFF"/>
                </a:solidFill>
                <a:ea typeface="+mj-lt"/>
                <a:cs typeface="+mj-lt"/>
              </a:rPr>
              <a:t>03</a:t>
            </a:r>
          </a:p>
          <a:p>
            <a:r>
              <a:rPr lang="en-US" sz="2000" b="1">
                <a:solidFill>
                  <a:srgbClr val="FFFFFF"/>
                </a:solidFill>
                <a:ea typeface="+mj-lt"/>
                <a:cs typeface="+mj-lt"/>
              </a:rPr>
              <a:t>Providing Clarity to Decision-makers and Tax-payers</a:t>
            </a:r>
            <a:endParaRPr lang="en-US" sz="2000" b="1">
              <a:solidFill>
                <a:srgbClr val="FFFFFF"/>
              </a:solidFill>
            </a:endParaRPr>
          </a:p>
          <a:p>
            <a:pPr marL="342900" indent="-342900">
              <a:lnSpc>
                <a:spcPct val="100000"/>
              </a:lnSpc>
              <a:buFont typeface="Arial"/>
              <a:buChar char="•"/>
            </a:pPr>
            <a:r>
              <a:rPr lang="en-US" sz="2000">
                <a:solidFill>
                  <a:srgbClr val="FFFFFF"/>
                </a:solidFill>
                <a:ea typeface="+mj-lt"/>
                <a:cs typeface="+mj-lt"/>
              </a:rPr>
              <a:t>Display audit history to awarding officials</a:t>
            </a:r>
          </a:p>
          <a:p>
            <a:pPr marL="342900" indent="-342900">
              <a:lnSpc>
                <a:spcPct val="100000"/>
              </a:lnSpc>
              <a:buFont typeface="Arial"/>
              <a:buChar char="•"/>
            </a:pPr>
            <a:r>
              <a:rPr lang="en-US" sz="2000">
                <a:solidFill>
                  <a:srgbClr val="FFFFFF"/>
                </a:solidFill>
                <a:ea typeface="+mj-lt"/>
                <a:cs typeface="+mj-lt"/>
              </a:rPr>
              <a:t>Explore risk or trust scoring within USAspending.gov</a:t>
            </a:r>
          </a:p>
        </p:txBody>
      </p:sp>
      <p:cxnSp>
        <p:nvCxnSpPr>
          <p:cNvPr id="6" name="Straight Connector 5">
            <a:extLst>
              <a:ext uri="{FF2B5EF4-FFF2-40B4-BE49-F238E27FC236}">
                <a16:creationId xmlns:a16="http://schemas.microsoft.com/office/drawing/2014/main" id="{E9EB5320-E0B4-6462-7920-942706528B7F}"/>
              </a:ext>
            </a:extLst>
          </p:cNvPr>
          <p:cNvCxnSpPr>
            <a:cxnSpLocks/>
          </p:cNvCxnSpPr>
          <p:nvPr/>
        </p:nvCxnSpPr>
        <p:spPr>
          <a:xfrm>
            <a:off x="514893" y="4763616"/>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7B28117-4E38-D640-5F37-27AEB542991A}"/>
              </a:ext>
            </a:extLst>
          </p:cNvPr>
          <p:cNvSpPr txBox="1">
            <a:spLocks/>
          </p:cNvSpPr>
          <p:nvPr/>
        </p:nvSpPr>
        <p:spPr>
          <a:xfrm>
            <a:off x="9349087" y="1111708"/>
            <a:ext cx="2412491" cy="3385549"/>
          </a:xfrm>
          <a:prstGeom prst="roundRect">
            <a:avLst/>
          </a:prstGeom>
          <a:ln/>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a:solidFill>
                  <a:srgbClr val="FFFFFF"/>
                </a:solidFill>
                <a:latin typeface="Aptos Display"/>
                <a:ea typeface="+mj-lt"/>
                <a:cs typeface="Arial"/>
              </a:rPr>
              <a:t>Taxpayer Protection Score</a:t>
            </a:r>
          </a:p>
          <a:p>
            <a:pPr marL="342900" indent="-342900">
              <a:buFont typeface="Arial"/>
              <a:buChar char="•"/>
            </a:pPr>
            <a:r>
              <a:rPr lang="en-US" sz="2000">
                <a:solidFill>
                  <a:srgbClr val="FFFFFF"/>
                </a:solidFill>
                <a:ea typeface="+mj-lt"/>
                <a:cs typeface="Arial"/>
              </a:rPr>
              <a:t>Public-facing indicator for entity health</a:t>
            </a:r>
          </a:p>
          <a:p>
            <a:endParaRPr lang="en-US" sz="2000">
              <a:solidFill>
                <a:srgbClr val="FFFFFF"/>
              </a:solidFill>
              <a:ea typeface="+mj-lt"/>
              <a:cs typeface="Arial"/>
            </a:endParaRPr>
          </a:p>
          <a:p>
            <a:r>
              <a:rPr lang="en-US" sz="2000" b="1">
                <a:solidFill>
                  <a:srgbClr val="FFFFFF"/>
                </a:solidFill>
                <a:ea typeface="+mj-lt"/>
                <a:cs typeface="Arial"/>
              </a:rPr>
              <a:t>Audit Finding Risk Model</a:t>
            </a:r>
          </a:p>
          <a:p>
            <a:pPr marL="342900" indent="-342900">
              <a:buFont typeface="Arial"/>
              <a:buChar char="•"/>
            </a:pPr>
            <a:r>
              <a:rPr lang="en-US" sz="2000">
                <a:solidFill>
                  <a:srgbClr val="FFFFFF"/>
                </a:solidFill>
                <a:ea typeface="+mj-lt"/>
                <a:cs typeface="Arial"/>
              </a:rPr>
              <a:t>Highlights entities needing further research before funding</a:t>
            </a:r>
          </a:p>
        </p:txBody>
      </p:sp>
      <p:sp>
        <p:nvSpPr>
          <p:cNvPr id="7" name="TextBox 6">
            <a:extLst>
              <a:ext uri="{FF2B5EF4-FFF2-40B4-BE49-F238E27FC236}">
                <a16:creationId xmlns:a16="http://schemas.microsoft.com/office/drawing/2014/main" id="{3817EC1C-4B4F-5789-634E-8E4DF5EC8819}"/>
              </a:ext>
            </a:extLst>
          </p:cNvPr>
          <p:cNvSpPr txBox="1"/>
          <p:nvPr/>
        </p:nvSpPr>
        <p:spPr>
          <a:xfrm>
            <a:off x="562784" y="4923118"/>
            <a:ext cx="1113615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latin typeface="Aptos Display"/>
              </a:rPr>
              <a:t>The Bottom Line: </a:t>
            </a:r>
            <a:r>
              <a:rPr lang="en-US" sz="2400">
                <a:latin typeface="Aptos Display"/>
              </a:rPr>
              <a:t>Funding Data needs to provide exclusion visibility to multiple stakeholders in the system. This is where trust scores become essential in decision-making and transparency.</a:t>
            </a:r>
          </a:p>
        </p:txBody>
      </p:sp>
      <p:sp>
        <p:nvSpPr>
          <p:cNvPr id="4" name="Arrow: Right 3">
            <a:extLst>
              <a:ext uri="{FF2B5EF4-FFF2-40B4-BE49-F238E27FC236}">
                <a16:creationId xmlns:a16="http://schemas.microsoft.com/office/drawing/2014/main" id="{A2124CAD-98F4-59BF-FE2C-4D2D634148DE}"/>
              </a:ext>
            </a:extLst>
          </p:cNvPr>
          <p:cNvSpPr/>
          <p:nvPr/>
        </p:nvSpPr>
        <p:spPr>
          <a:xfrm>
            <a:off x="9020555" y="2390893"/>
            <a:ext cx="658697" cy="414930"/>
          </a:xfrm>
          <a:prstGeom prst="rightArrow">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US"/>
          </a:p>
        </p:txBody>
      </p:sp>
      <p:pic>
        <p:nvPicPr>
          <p:cNvPr id="11" name="Graphic 10" descr="Folder Search with solid fill">
            <a:extLst>
              <a:ext uri="{FF2B5EF4-FFF2-40B4-BE49-F238E27FC236}">
                <a16:creationId xmlns:a16="http://schemas.microsoft.com/office/drawing/2014/main" id="{43C595FF-277D-ABC5-E25E-61B44C3B82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4784" y="667512"/>
            <a:ext cx="914400" cy="914400"/>
          </a:xfrm>
          <a:prstGeom prst="rect">
            <a:avLst/>
          </a:prstGeom>
        </p:spPr>
      </p:pic>
    </p:spTree>
    <p:extLst>
      <p:ext uri="{BB962C8B-B14F-4D97-AF65-F5344CB8AC3E}">
        <p14:creationId xmlns:p14="http://schemas.microsoft.com/office/powerpoint/2010/main" val="2143509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D7E4287A-8993-805B-081F-0E4D01412C2A}"/>
              </a:ext>
            </a:extLst>
          </p:cNvPr>
          <p:cNvSpPr/>
          <p:nvPr/>
        </p:nvSpPr>
        <p:spPr>
          <a:xfrm>
            <a:off x="1510491" y="297008"/>
            <a:ext cx="9170886" cy="75344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934;p251">
            <a:extLst>
              <a:ext uri="{FF2B5EF4-FFF2-40B4-BE49-F238E27FC236}">
                <a16:creationId xmlns:a16="http://schemas.microsoft.com/office/drawing/2014/main" id="{4A690E94-3404-4288-03BC-C5BCD9961FEE}"/>
              </a:ext>
            </a:extLst>
          </p:cNvPr>
          <p:cNvSpPr/>
          <p:nvPr/>
        </p:nvSpPr>
        <p:spPr>
          <a:xfrm>
            <a:off x="1678426" y="-137319"/>
            <a:ext cx="8817428" cy="1631532"/>
          </a:xfrm>
          <a:prstGeom prst="rect">
            <a:avLst/>
          </a:prstGeom>
          <a:noFill/>
          <a:ln>
            <a:noFill/>
          </a:ln>
        </p:spPr>
        <p:txBody>
          <a:bodyPr spcFirstLastPara="1" wrap="square" lIns="91433" tIns="45700" rIns="91433" bIns="45700" anchor="ctr" anchorCtr="0">
            <a:noAutofit/>
          </a:bodyPr>
          <a:lstStyle/>
          <a:p>
            <a:pPr algn="ctr"/>
            <a:r>
              <a:rPr lang="en-US" sz="2800">
                <a:solidFill>
                  <a:schemeClr val="bg1"/>
                </a:solidFill>
                <a:ea typeface="+mn-lt"/>
                <a:cs typeface="+mn-lt"/>
                <a:sym typeface="Helvetica Neue"/>
              </a:rPr>
              <a:t>Government Data is Powerful</a:t>
            </a:r>
            <a:endParaRPr lang="en-US">
              <a:solidFill>
                <a:schemeClr val="bg1"/>
              </a:solidFill>
            </a:endParaRPr>
          </a:p>
        </p:txBody>
      </p:sp>
      <p:sp>
        <p:nvSpPr>
          <p:cNvPr id="4" name="Google Shape;934;p251">
            <a:extLst>
              <a:ext uri="{FF2B5EF4-FFF2-40B4-BE49-F238E27FC236}">
                <a16:creationId xmlns:a16="http://schemas.microsoft.com/office/drawing/2014/main" id="{8AF5173F-5F9C-4B2A-6690-36ED35745210}"/>
              </a:ext>
            </a:extLst>
          </p:cNvPr>
          <p:cNvSpPr/>
          <p:nvPr/>
        </p:nvSpPr>
        <p:spPr>
          <a:xfrm>
            <a:off x="4018778" y="921677"/>
            <a:ext cx="7951519" cy="1631532"/>
          </a:xfrm>
          <a:prstGeom prst="rect">
            <a:avLst/>
          </a:prstGeom>
          <a:noFill/>
          <a:ln>
            <a:noFill/>
          </a:ln>
        </p:spPr>
        <p:txBody>
          <a:bodyPr spcFirstLastPara="1" wrap="square" lIns="91433" tIns="45700" rIns="91433" bIns="45700" anchor="ctr" anchorCtr="0">
            <a:noAutofit/>
          </a:bodyPr>
          <a:lstStyle/>
          <a:p>
            <a:pPr marL="571500" indent="-571500">
              <a:buFont typeface="Calibri"/>
              <a:buChar char="-"/>
            </a:pPr>
            <a:endParaRPr lang="en-US" sz="3600"/>
          </a:p>
        </p:txBody>
      </p:sp>
      <p:sp>
        <p:nvSpPr>
          <p:cNvPr id="9" name="Rectangle 8">
            <a:extLst>
              <a:ext uri="{FF2B5EF4-FFF2-40B4-BE49-F238E27FC236}">
                <a16:creationId xmlns:a16="http://schemas.microsoft.com/office/drawing/2014/main" id="{37DFDA01-422F-D1FD-25DB-17D039D993EF}"/>
              </a:ext>
            </a:extLst>
          </p:cNvPr>
          <p:cNvSpPr/>
          <p:nvPr/>
        </p:nvSpPr>
        <p:spPr>
          <a:xfrm>
            <a:off x="554734" y="1466927"/>
            <a:ext cx="3345461" cy="53640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b="1">
                <a:solidFill>
                  <a:schemeClr val="bg1"/>
                </a:solidFill>
                <a:latin typeface="Arial"/>
              </a:rPr>
              <a:t>The Data</a:t>
            </a:r>
            <a:endParaRPr lang="en-US"/>
          </a:p>
        </p:txBody>
      </p:sp>
      <p:sp>
        <p:nvSpPr>
          <p:cNvPr id="11" name="Rectangle 10">
            <a:extLst>
              <a:ext uri="{FF2B5EF4-FFF2-40B4-BE49-F238E27FC236}">
                <a16:creationId xmlns:a16="http://schemas.microsoft.com/office/drawing/2014/main" id="{7716B454-535C-E895-2F6C-69CF88A9E79E}"/>
              </a:ext>
            </a:extLst>
          </p:cNvPr>
          <p:cNvSpPr/>
          <p:nvPr/>
        </p:nvSpPr>
        <p:spPr>
          <a:xfrm>
            <a:off x="554734" y="2167367"/>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a:spcAft>
                <a:spcPts val="1200"/>
              </a:spcAft>
              <a:defRPr/>
            </a:pPr>
            <a:r>
              <a:rPr lang="en-US" sz="1400">
                <a:solidFill>
                  <a:schemeClr val="tx1"/>
                </a:solidFill>
                <a:latin typeface="Arial"/>
                <a:ea typeface="Helvetica Neue" panose="02000503000000020004" pitchFamily="2" charset="0"/>
                <a:cs typeface="Helvetica Neue" panose="02000503000000020004" pitchFamily="2" charset="0"/>
              </a:rPr>
              <a:t>We Connected the Dots</a:t>
            </a: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Helvetica Neue" panose="02000503000000020004" pitchFamily="2" charset="0"/>
              </a:rPr>
              <a:t>74M USAspending records processed</a:t>
            </a:r>
            <a:endParaRPr lang="en-US" sz="1400">
              <a:solidFill>
                <a:schemeClr val="tx1"/>
              </a:solidFill>
              <a:latin typeface="Arial"/>
              <a:ea typeface="Helvetica Neue" panose="02000503000000020004" pitchFamily="2" charset="0"/>
              <a:cs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Helvetica Neue" panose="02000503000000020004" pitchFamily="2" charset="0"/>
              </a:rPr>
              <a:t>57,448 audited entities analyzed</a:t>
            </a:r>
            <a:endParaRPr lang="en-US" sz="1400" b="0" i="0" u="none" strike="noStrike" kern="1200" cap="none" spc="0" normalizeH="0" baseline="0" noProof="0">
              <a:ln>
                <a:noFill/>
              </a:ln>
              <a:solidFill>
                <a:schemeClr val="tx1"/>
              </a:solidFill>
              <a:effectLst/>
              <a:uLnTx/>
              <a:uFillTx/>
              <a:latin typeface="Arial"/>
              <a:ea typeface="Helvetica Neue" panose="02000503000000020004" pitchFamily="2" charset="0"/>
              <a:cs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Helvetica Neue" panose="02000503000000020004" pitchFamily="2" charset="0"/>
              </a:rPr>
              <a:t>3 federal systems integrated</a:t>
            </a:r>
            <a:endParaRPr lang="en-US" sz="1400" b="0" i="0" u="none" strike="noStrike" kern="1200" cap="none" spc="0" normalizeH="0" baseline="0" noProof="0">
              <a:ln>
                <a:noFill/>
              </a:ln>
              <a:solidFill>
                <a:schemeClr val="tx1"/>
              </a:solidFill>
              <a:effectLst/>
              <a:uLnTx/>
              <a:uFillTx/>
              <a:latin typeface="Arial"/>
              <a:ea typeface="Helvetica Neue" panose="02000503000000020004" pitchFamily="2" charset="0"/>
              <a:cs typeface="Helvetica Neue" panose="02000503000000020004" pitchFamily="2" charset="0"/>
            </a:endParaRPr>
          </a:p>
        </p:txBody>
      </p:sp>
      <p:sp>
        <p:nvSpPr>
          <p:cNvPr id="13" name="Rectangle 12">
            <a:extLst>
              <a:ext uri="{FF2B5EF4-FFF2-40B4-BE49-F238E27FC236}">
                <a16:creationId xmlns:a16="http://schemas.microsoft.com/office/drawing/2014/main" id="{373482E9-0E15-1874-20D5-A0FA3F891CC3}"/>
              </a:ext>
            </a:extLst>
          </p:cNvPr>
          <p:cNvSpPr/>
          <p:nvPr/>
        </p:nvSpPr>
        <p:spPr>
          <a:xfrm>
            <a:off x="554734" y="5073478"/>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spcAft>
                <a:spcPts val="600"/>
              </a:spcAft>
              <a:defRPr/>
            </a:pPr>
            <a:r>
              <a:rPr lang="en-US" sz="1600" b="1">
                <a:solidFill>
                  <a:schemeClr val="tx1"/>
                </a:solidFill>
                <a:latin typeface="Arial"/>
              </a:rPr>
              <a:t>Citizens can finally see where tax dollars go</a:t>
            </a:r>
            <a:endParaRPr lang="en-US"/>
          </a:p>
        </p:txBody>
      </p:sp>
      <p:sp>
        <p:nvSpPr>
          <p:cNvPr id="15" name="Triangle 18">
            <a:extLst>
              <a:ext uri="{FF2B5EF4-FFF2-40B4-BE49-F238E27FC236}">
                <a16:creationId xmlns:a16="http://schemas.microsoft.com/office/drawing/2014/main" id="{31029DB3-5F43-46FD-2CC6-B32B961D071B}"/>
              </a:ext>
            </a:extLst>
          </p:cNvPr>
          <p:cNvSpPr/>
          <p:nvPr/>
        </p:nvSpPr>
        <p:spPr>
          <a:xfrm rot="10800000">
            <a:off x="1507173" y="4668807"/>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76B1505-D9A0-AA14-3DBA-5E8D18C4E527}"/>
              </a:ext>
            </a:extLst>
          </p:cNvPr>
          <p:cNvSpPr/>
          <p:nvPr/>
        </p:nvSpPr>
        <p:spPr>
          <a:xfrm>
            <a:off x="4422031" y="5062106"/>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spcAft>
                <a:spcPts val="600"/>
              </a:spcAft>
              <a:defRPr/>
            </a:pPr>
            <a:r>
              <a:rPr lang="en-US" sz="1600" b="1">
                <a:solidFill>
                  <a:schemeClr val="tx1"/>
                </a:solidFill>
                <a:latin typeface="Arial"/>
              </a:rPr>
              <a:t>But they can't verify which entities to trust</a:t>
            </a:r>
          </a:p>
        </p:txBody>
      </p:sp>
      <p:sp>
        <p:nvSpPr>
          <p:cNvPr id="19" name="Rectangle 18">
            <a:extLst>
              <a:ext uri="{FF2B5EF4-FFF2-40B4-BE49-F238E27FC236}">
                <a16:creationId xmlns:a16="http://schemas.microsoft.com/office/drawing/2014/main" id="{B3242CC5-6649-DED9-AEDD-2D260F631E2E}"/>
              </a:ext>
            </a:extLst>
          </p:cNvPr>
          <p:cNvSpPr/>
          <p:nvPr/>
        </p:nvSpPr>
        <p:spPr>
          <a:xfrm>
            <a:off x="4422031" y="2155993"/>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a:spcAft>
                <a:spcPts val="1200"/>
              </a:spcAft>
              <a:defRPr/>
            </a:pPr>
            <a:r>
              <a:rPr lang="en-US" sz="1400">
                <a:solidFill>
                  <a:schemeClr val="tx1"/>
                </a:solidFill>
                <a:latin typeface="Arial"/>
                <a:ea typeface="Helvetica Neue" panose="02000503000000020004" pitchFamily="2" charset="0"/>
                <a:cs typeface="Helvetica Neue" panose="02000503000000020004" pitchFamily="2" charset="0"/>
              </a:rPr>
              <a:t>Trust Can't Be Verified</a:t>
            </a:r>
          </a:p>
          <a:p>
            <a:pPr marL="285750" indent="-285750">
              <a:spcAft>
                <a:spcPts val="1200"/>
              </a:spcAft>
              <a:buFont typeface="Arial"/>
              <a:buChar char="•"/>
              <a:defRPr/>
            </a:pPr>
            <a:r>
              <a:rPr lang="en-US" sz="1400">
                <a:solidFill>
                  <a:schemeClr val="tx1"/>
                </a:solidFill>
                <a:latin typeface="Arial"/>
              </a:rPr>
              <a:t>3 systems, 1 identifier, 0 integration</a:t>
            </a:r>
          </a:p>
          <a:p>
            <a:pPr marL="233045" indent="-233045">
              <a:spcAft>
                <a:spcPts val="1200"/>
              </a:spcAft>
              <a:buFont typeface="Arial" panose="020B0604020202020204" pitchFamily="34" charset="0"/>
              <a:buChar char="•"/>
              <a:defRPr/>
            </a:pPr>
            <a:r>
              <a:rPr lang="en-US" sz="1400">
                <a:solidFill>
                  <a:schemeClr val="tx1"/>
                </a:solidFill>
                <a:latin typeface="Arial"/>
              </a:rPr>
              <a:t>Audit failures don't reduce funding</a:t>
            </a:r>
            <a:endParaRPr lang="en-US" sz="1400">
              <a:solidFill>
                <a:schemeClr val="tx1"/>
              </a:solidFill>
              <a:latin typeface="Arial"/>
              <a:cs typeface="Arial"/>
            </a:endParaRPr>
          </a:p>
          <a:p>
            <a:pPr marL="233045" indent="-233045">
              <a:spcAft>
                <a:spcPts val="1200"/>
              </a:spcAft>
              <a:buFont typeface="Arial" panose="020B0604020202020204" pitchFamily="34" charset="0"/>
              <a:buChar char="•"/>
              <a:defRPr/>
            </a:pPr>
            <a:r>
              <a:rPr lang="en-US" sz="1400">
                <a:solidFill>
                  <a:schemeClr val="tx1"/>
                </a:solidFill>
                <a:latin typeface="Arial"/>
              </a:rPr>
              <a:t>$1.09T to Entities with Severe Audit Failures</a:t>
            </a:r>
            <a:endParaRPr lang="en-US" sz="1400">
              <a:solidFill>
                <a:schemeClr val="tx1"/>
              </a:solidFill>
              <a:latin typeface="Arial"/>
              <a:cs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Arial"/>
              </a:rPr>
              <a:t>33,780 excluded entities traceable, none auto-blocked</a:t>
            </a:r>
          </a:p>
          <a:p>
            <a:pPr marL="233045" indent="-233045">
              <a:spcAft>
                <a:spcPts val="1200"/>
              </a:spcAft>
              <a:buFont typeface="Arial" panose="020B0604020202020204" pitchFamily="34" charset="0"/>
              <a:buChar char="•"/>
              <a:defRPr/>
            </a:pPr>
            <a:endParaRPr lang="en-US" sz="1400">
              <a:solidFill>
                <a:schemeClr val="tx1"/>
              </a:solidFill>
              <a:latin typeface="Arial"/>
              <a:ea typeface="Helvetica Neue" panose="02000503000000020004" pitchFamily="2" charset="0"/>
              <a:cs typeface="Helvetica Neue" panose="02000503000000020004" pitchFamily="2" charset="0"/>
            </a:endParaRPr>
          </a:p>
        </p:txBody>
      </p:sp>
      <p:sp>
        <p:nvSpPr>
          <p:cNvPr id="21" name="Rectangle 20">
            <a:extLst>
              <a:ext uri="{FF2B5EF4-FFF2-40B4-BE49-F238E27FC236}">
                <a16:creationId xmlns:a16="http://schemas.microsoft.com/office/drawing/2014/main" id="{7DEAEC9E-6F95-63B7-5D6E-FF4AC17C7134}"/>
              </a:ext>
            </a:extLst>
          </p:cNvPr>
          <p:cNvSpPr/>
          <p:nvPr/>
        </p:nvSpPr>
        <p:spPr>
          <a:xfrm>
            <a:off x="4423269" y="1455554"/>
            <a:ext cx="3345461" cy="536401"/>
          </a:xfrm>
          <a:prstGeom prst="rect">
            <a:avLst/>
          </a:prstGeom>
          <a:solidFill>
            <a:schemeClr val="accent2"/>
          </a:solidFill>
          <a:ln>
            <a:noFill/>
          </a:ln>
        </p:spPr>
        <p:txBody>
          <a:bodyPr spcFirstLastPara="1" wrap="square" lIns="91433" tIns="45700" rIns="91433" bIns="45700" anchor="ctr" anchorCtr="0">
            <a:noAutofit/>
          </a:bodyPr>
          <a:lstStyle/>
          <a:p>
            <a:pPr algn="ctr">
              <a:defRPr/>
            </a:pPr>
            <a:r>
              <a:rPr lang="en-US" sz="1600" b="1">
                <a:solidFill>
                  <a:schemeClr val="bg1"/>
                </a:solidFill>
              </a:rPr>
              <a:t>The Problem</a:t>
            </a:r>
          </a:p>
        </p:txBody>
      </p:sp>
      <p:sp>
        <p:nvSpPr>
          <p:cNvPr id="23" name="Triangle 21">
            <a:extLst>
              <a:ext uri="{FF2B5EF4-FFF2-40B4-BE49-F238E27FC236}">
                <a16:creationId xmlns:a16="http://schemas.microsoft.com/office/drawing/2014/main" id="{776A580A-2BBA-0C6C-5B14-DB436DE2A87C}"/>
              </a:ext>
            </a:extLst>
          </p:cNvPr>
          <p:cNvSpPr/>
          <p:nvPr/>
        </p:nvSpPr>
        <p:spPr>
          <a:xfrm rot="10800000">
            <a:off x="5374471" y="4657433"/>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9A663CB6-1C24-D4E7-AFB0-65866BE3F43B}"/>
              </a:ext>
            </a:extLst>
          </p:cNvPr>
          <p:cNvSpPr/>
          <p:nvPr/>
        </p:nvSpPr>
        <p:spPr>
          <a:xfrm>
            <a:off x="8289327" y="5044919"/>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spcAft>
                <a:spcPts val="600"/>
              </a:spcAft>
              <a:defRPr/>
            </a:pPr>
            <a:r>
              <a:rPr lang="en-US" sz="1600" b="1">
                <a:solidFill>
                  <a:schemeClr val="tx1"/>
                </a:solidFill>
                <a:latin typeface="Arial"/>
              </a:rPr>
              <a:t>Until now</a:t>
            </a:r>
            <a:endParaRPr lang="en-US"/>
          </a:p>
        </p:txBody>
      </p:sp>
      <p:sp>
        <p:nvSpPr>
          <p:cNvPr id="27" name="Rectangle 26">
            <a:extLst>
              <a:ext uri="{FF2B5EF4-FFF2-40B4-BE49-F238E27FC236}">
                <a16:creationId xmlns:a16="http://schemas.microsoft.com/office/drawing/2014/main" id="{3DB68407-4176-EA82-8579-D944E7E7F84D}"/>
              </a:ext>
            </a:extLst>
          </p:cNvPr>
          <p:cNvSpPr/>
          <p:nvPr/>
        </p:nvSpPr>
        <p:spPr>
          <a:xfrm>
            <a:off x="8289327" y="2138806"/>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a:spcAft>
                <a:spcPts val="1200"/>
              </a:spcAft>
              <a:defRPr/>
            </a:pPr>
            <a:r>
              <a:rPr lang="en-US" sz="1400">
                <a:solidFill>
                  <a:schemeClr val="tx1"/>
                </a:solidFill>
                <a:latin typeface="Arial"/>
                <a:ea typeface="Helvetica Neue" panose="02000503000000020004" pitchFamily="2" charset="0"/>
                <a:cs typeface="Helvetica Neue" panose="02000503000000020004" pitchFamily="2" charset="0"/>
              </a:rPr>
              <a:t>We Built the Tools</a:t>
            </a:r>
            <a:endParaRPr lang="en-US" sz="1400" b="0" i="0" u="none" strike="noStrike" kern="1200" cap="none" spc="0" normalizeH="0" baseline="0" noProof="0">
              <a:ln>
                <a:noFill/>
              </a:ln>
              <a:solidFill>
                <a:schemeClr val="tx1"/>
              </a:solidFill>
              <a:effectLst/>
              <a:uLnTx/>
              <a:uFillTx/>
              <a:latin typeface="Arial"/>
              <a:ea typeface="Helvetica Neue" panose="02000503000000020004" pitchFamily="2" charset="0"/>
              <a:cs typeface="Helvetica Neue" panose="02000503000000020004" pitchFamily="2" charset="0"/>
            </a:endParaRPr>
          </a:p>
          <a:p>
            <a:pPr marL="233045" indent="-233045">
              <a:spcAft>
                <a:spcPts val="1200"/>
              </a:spcAft>
              <a:buFont typeface="Arial" panose="020B0604020202020204" pitchFamily="34" charset="0"/>
              <a:buChar char="•"/>
              <a:defRPr/>
            </a:pPr>
            <a:r>
              <a:rPr lang="en-US" sz="1400">
                <a:solidFill>
                  <a:schemeClr val="tx1"/>
                </a:solidFill>
                <a:latin typeface="Arial"/>
                <a:cs typeface="Arial"/>
              </a:rPr>
              <a:t>42,233 entities matches &amp; scored</a:t>
            </a:r>
            <a:endParaRPr lang="en-US" sz="1400">
              <a:solidFill>
                <a:schemeClr val="tx1"/>
              </a:solidFill>
              <a:latin typeface="Arial"/>
            </a:endParaRP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Arial"/>
              </a:rPr>
              <a:t>Taxpayer Protection Score (0-100)</a:t>
            </a:r>
          </a:p>
          <a:p>
            <a:pPr marL="233045" indent="-233045">
              <a:spcAft>
                <a:spcPts val="1200"/>
              </a:spcAft>
              <a:buFont typeface="Arial" panose="020B0604020202020204" pitchFamily="34" charset="0"/>
              <a:buChar char="•"/>
              <a:defRPr/>
            </a:pPr>
            <a:r>
              <a:rPr lang="en-US" sz="1400">
                <a:solidFill>
                  <a:schemeClr val="tx1"/>
                </a:solidFill>
                <a:latin typeface="Arial"/>
                <a:ea typeface="Helvetica Neue" panose="02000503000000020004" pitchFamily="2" charset="0"/>
                <a:cs typeface="Arial"/>
              </a:rPr>
              <a:t>Predictive risk model</a:t>
            </a:r>
          </a:p>
        </p:txBody>
      </p:sp>
      <p:sp>
        <p:nvSpPr>
          <p:cNvPr id="29" name="Rectangle 28">
            <a:extLst>
              <a:ext uri="{FF2B5EF4-FFF2-40B4-BE49-F238E27FC236}">
                <a16:creationId xmlns:a16="http://schemas.microsoft.com/office/drawing/2014/main" id="{6C42F0C2-86A3-12E4-7A35-C4CED0EDBB87}"/>
              </a:ext>
            </a:extLst>
          </p:cNvPr>
          <p:cNvSpPr/>
          <p:nvPr/>
        </p:nvSpPr>
        <p:spPr>
          <a:xfrm>
            <a:off x="8291803" y="1438367"/>
            <a:ext cx="3345461" cy="536401"/>
          </a:xfrm>
          <a:prstGeom prst="rect">
            <a:avLst/>
          </a:prstGeom>
          <a:solidFill>
            <a:schemeClr val="accent6"/>
          </a:solidFill>
          <a:ln>
            <a:solidFill>
              <a:schemeClr val="tx2">
                <a:lumMod val="10000"/>
                <a:lumOff val="90000"/>
              </a:schemeClr>
            </a:solidFill>
          </a:ln>
        </p:spPr>
        <p:txBody>
          <a:bodyPr spcFirstLastPara="1" wrap="square" lIns="91433" tIns="45700" rIns="91433" bIns="45700" anchor="ctr" anchorCtr="0">
            <a:noAutofit/>
          </a:bodyPr>
          <a:lstStyle/>
          <a:p>
            <a:pPr algn="ctr">
              <a:defRPr/>
            </a:pPr>
            <a:r>
              <a:rPr lang="en-US" sz="1600" b="1">
                <a:solidFill>
                  <a:schemeClr val="bg1"/>
                </a:solidFill>
              </a:rPr>
              <a:t>The Solution</a:t>
            </a:r>
            <a:endParaRPr lang="en-US"/>
          </a:p>
        </p:txBody>
      </p:sp>
      <p:sp>
        <p:nvSpPr>
          <p:cNvPr id="31" name="Triangle 22">
            <a:extLst>
              <a:ext uri="{FF2B5EF4-FFF2-40B4-BE49-F238E27FC236}">
                <a16:creationId xmlns:a16="http://schemas.microsoft.com/office/drawing/2014/main" id="{32682E78-9335-E26F-12BF-883C765ED549}"/>
              </a:ext>
            </a:extLst>
          </p:cNvPr>
          <p:cNvSpPr/>
          <p:nvPr/>
        </p:nvSpPr>
        <p:spPr>
          <a:xfrm rot="10800000">
            <a:off x="9241767" y="4640246"/>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3" name="Google Shape;538;p14">
            <a:extLst>
              <a:ext uri="{FF2B5EF4-FFF2-40B4-BE49-F238E27FC236}">
                <a16:creationId xmlns:a16="http://schemas.microsoft.com/office/drawing/2014/main" id="{4F7FB062-E016-994F-F3BB-9DEBF34BE23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8" name="Google Shape;507;p14">
            <a:extLst>
              <a:ext uri="{FF2B5EF4-FFF2-40B4-BE49-F238E27FC236}">
                <a16:creationId xmlns:a16="http://schemas.microsoft.com/office/drawing/2014/main" id="{EF764310-F6C8-4D58-667B-502055AF4E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ederal Audit Clearinghouse (FY2016-Present), SAM.gov Public Extract 25361 (Dec 27, 2025)</a:t>
            </a:r>
          </a:p>
        </p:txBody>
      </p:sp>
    </p:spTree>
    <p:extLst>
      <p:ext uri="{BB962C8B-B14F-4D97-AF65-F5344CB8AC3E}">
        <p14:creationId xmlns:p14="http://schemas.microsoft.com/office/powerpoint/2010/main" val="3246686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48969-6EC5-C94D-627D-FB7DD040555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A48E8B-E762-1F24-C685-4FC86514B2B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8FED43-621D-8095-6A1E-FDD35DE4742C}"/>
              </a:ext>
            </a:extLst>
          </p:cNvPr>
          <p:cNvSpPr>
            <a:spLocks noGrp="1"/>
          </p:cNvSpPr>
          <p:nvPr>
            <p:ph type="title"/>
          </p:nvPr>
        </p:nvSpPr>
        <p:spPr>
          <a:xfrm>
            <a:off x="563596" y="284208"/>
            <a:ext cx="10985063" cy="731520"/>
          </a:xfrm>
        </p:spPr>
        <p:txBody>
          <a:bodyPr/>
          <a:lstStyle/>
          <a:p>
            <a:r>
              <a:rPr lang="en-US"/>
              <a:t>A Unified View of Federal Accountability</a:t>
            </a:r>
          </a:p>
        </p:txBody>
      </p:sp>
      <p:sp>
        <p:nvSpPr>
          <p:cNvPr id="4" name="Google Shape;878;p247">
            <a:extLst>
              <a:ext uri="{FF2B5EF4-FFF2-40B4-BE49-F238E27FC236}">
                <a16:creationId xmlns:a16="http://schemas.microsoft.com/office/drawing/2014/main" id="{2A117F0D-C362-9AF1-6126-E696D0CEFDBD}"/>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USAspending.gov</a:t>
            </a:r>
            <a:endParaRPr sz="1600" b="1">
              <a:solidFill>
                <a:schemeClr val="bg1"/>
              </a:solidFill>
              <a:ea typeface="Helvetica Neue"/>
              <a:cs typeface="Helvetica Neue"/>
              <a:sym typeface="Helvetica Neue"/>
            </a:endParaRPr>
          </a:p>
        </p:txBody>
      </p:sp>
      <p:sp>
        <p:nvSpPr>
          <p:cNvPr id="7" name="Google Shape;879;p247">
            <a:extLst>
              <a:ext uri="{FF2B5EF4-FFF2-40B4-BE49-F238E27FC236}">
                <a16:creationId xmlns:a16="http://schemas.microsoft.com/office/drawing/2014/main" id="{0F244115-B961-2B2E-3DC5-85CBA79A3816}"/>
              </a:ext>
            </a:extLst>
          </p:cNvPr>
          <p:cNvSpPr txBox="1"/>
          <p:nvPr/>
        </p:nvSpPr>
        <p:spPr>
          <a:xfrm>
            <a:off x="4330398"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Federal Audit Clearinghouse</a:t>
            </a:r>
            <a:endParaRPr sz="1600" b="1" err="1">
              <a:solidFill>
                <a:schemeClr val="bg1"/>
              </a:solidFill>
              <a:sym typeface="Helvetica Neue"/>
            </a:endParaRPr>
          </a:p>
        </p:txBody>
      </p:sp>
      <p:sp>
        <p:nvSpPr>
          <p:cNvPr id="9" name="Google Shape;880;p247">
            <a:extLst>
              <a:ext uri="{FF2B5EF4-FFF2-40B4-BE49-F238E27FC236}">
                <a16:creationId xmlns:a16="http://schemas.microsoft.com/office/drawing/2014/main" id="{C7CE4533-7A11-391B-E9DF-ABE5FB74CA5D}"/>
              </a:ext>
            </a:extLst>
          </p:cNvPr>
          <p:cNvSpPr txBox="1"/>
          <p:nvPr/>
        </p:nvSpPr>
        <p:spPr>
          <a:xfrm>
            <a:off x="8099868"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sym typeface="Helvetica Neue"/>
              </a:rPr>
              <a:t>SAM.gov</a:t>
            </a:r>
            <a:endParaRPr sz="1600" b="1">
              <a:solidFill>
                <a:schemeClr val="bg1"/>
              </a:solidFill>
              <a:sym typeface="Helvetica Neue"/>
            </a:endParaRPr>
          </a:p>
        </p:txBody>
      </p:sp>
      <p:cxnSp>
        <p:nvCxnSpPr>
          <p:cNvPr id="11" name="Google Shape;889;p247">
            <a:extLst>
              <a:ext uri="{FF2B5EF4-FFF2-40B4-BE49-F238E27FC236}">
                <a16:creationId xmlns:a16="http://schemas.microsoft.com/office/drawing/2014/main" id="{6BAC9C6B-E8B6-13C5-A30A-A0D17EB7444D}"/>
              </a:ext>
            </a:extLst>
          </p:cNvPr>
          <p:cNvCxnSpPr>
            <a:cxnSpLocks/>
          </p:cNvCxnSpPr>
          <p:nvPr/>
        </p:nvCxnSpPr>
        <p:spPr>
          <a:xfrm>
            <a:off x="8008598" y="1816190"/>
            <a:ext cx="0" cy="3038754"/>
          </a:xfrm>
          <a:prstGeom prst="straightConnector1">
            <a:avLst/>
          </a:prstGeom>
          <a:noFill/>
          <a:ln w="9525" cap="flat" cmpd="sng">
            <a:solidFill>
              <a:schemeClr val="tx1"/>
            </a:solidFill>
            <a:prstDash val="solid"/>
            <a:miter lim="800000"/>
            <a:headEnd type="none" w="sm" len="sm"/>
            <a:tailEnd type="none" w="sm" len="sm"/>
          </a:ln>
        </p:spPr>
      </p:cxnSp>
      <p:sp>
        <p:nvSpPr>
          <p:cNvPr id="12" name="Google Shape;890;p247">
            <a:extLst>
              <a:ext uri="{FF2B5EF4-FFF2-40B4-BE49-F238E27FC236}">
                <a16:creationId xmlns:a16="http://schemas.microsoft.com/office/drawing/2014/main" id="{4D01A05B-461E-251D-777C-598A626808C7}"/>
              </a:ext>
            </a:extLst>
          </p:cNvPr>
          <p:cNvSpPr/>
          <p:nvPr/>
        </p:nvSpPr>
        <p:spPr>
          <a:xfrm>
            <a:off x="7854583" y="3734175"/>
            <a:ext cx="327273" cy="323868"/>
          </a:xfrm>
          <a:prstGeom prst="mathPlus">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14" name="Google Shape;881;p247">
            <a:extLst>
              <a:ext uri="{FF2B5EF4-FFF2-40B4-BE49-F238E27FC236}">
                <a16:creationId xmlns:a16="http://schemas.microsoft.com/office/drawing/2014/main" id="{6D153E6D-74E4-1FCF-0ED3-6871874D8FD6}"/>
              </a:ext>
            </a:extLst>
          </p:cNvPr>
          <p:cNvSpPr txBox="1"/>
          <p:nvPr/>
        </p:nvSpPr>
        <p:spPr>
          <a:xfrm>
            <a:off x="560926" y="2268393"/>
            <a:ext cx="3526178" cy="3766841"/>
          </a:xfrm>
          <a:prstGeom prst="rect">
            <a:avLst/>
          </a:prstGeom>
          <a:noFill/>
          <a:ln>
            <a:noFill/>
          </a:ln>
        </p:spPr>
        <p:txBody>
          <a:bodyPr spcFirstLastPara="1" wrap="square" lIns="91440" tIns="91440" rIns="91440" bIns="91440" anchor="t" anchorCtr="0">
            <a:noAutofit/>
          </a:bodyPr>
          <a:lstStyle/>
          <a:p>
            <a:pPr marL="285750" indent="-285750">
              <a:lnSpc>
                <a:spcPct val="90000"/>
              </a:lnSpc>
              <a:spcAft>
                <a:spcPts val="600"/>
              </a:spcAft>
              <a:buClr>
                <a:srgbClr val="3F3F3F"/>
              </a:buClr>
              <a:buSzPts val="1100"/>
              <a:buFont typeface="Arial" panose="020B0604020202020204" pitchFamily="34" charset="0"/>
              <a:buChar char="•"/>
            </a:pPr>
            <a:r>
              <a:rPr lang="en-US" sz="1400">
                <a:ea typeface="+mn-lt"/>
                <a:cs typeface="+mn-lt"/>
                <a:sym typeface="Helvetica Neue"/>
              </a:rPr>
              <a:t>Federal financial assistance (grants, loans, subsidies)</a:t>
            </a:r>
            <a:endParaRPr lang="en-US">
              <a:ea typeface="+mn-lt"/>
              <a:cs typeface="+mn-lt"/>
              <a:sym typeface="Helvetica Neue"/>
            </a:endParaRP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sym typeface="Helvetica Neue"/>
              </a:rPr>
              <a:t>74M records FY2019-2024</a:t>
            </a:r>
            <a:endParaRPr lang="en-US"/>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rPr>
              <a:t>Tracks who receives federal funds</a:t>
            </a: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rPr>
              <a:t>Primary spending data source</a:t>
            </a: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rPr>
              <a:t>Managed by U.S. Treasury</a:t>
            </a:r>
          </a:p>
        </p:txBody>
      </p:sp>
      <p:sp>
        <p:nvSpPr>
          <p:cNvPr id="15" name="Google Shape;882;p247">
            <a:extLst>
              <a:ext uri="{FF2B5EF4-FFF2-40B4-BE49-F238E27FC236}">
                <a16:creationId xmlns:a16="http://schemas.microsoft.com/office/drawing/2014/main" id="{C14C08D9-CCEF-2276-0FEC-4440EBA8EDC9}"/>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Single audit findings and compliance</a:t>
            </a:r>
            <a:endParaRPr lang="en-US">
              <a:ea typeface="Helvetica Neue"/>
              <a:cs typeface="Helvetica Neue"/>
              <a:sym typeface="Helvetica Neue"/>
            </a:endParaRP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57,448 entities FY2016-2024 </a:t>
            </a:r>
            <a:endParaRPr lang="en-US" sz="1400">
              <a:ea typeface="Helvetica Neue"/>
              <a:cs typeface="Helvetica Neue"/>
            </a:endParaRP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rPr>
              <a:t>Required for entities receiving $750k+</a:t>
            </a: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rPr>
              <a:t>Identifies control failures</a:t>
            </a:r>
          </a:p>
          <a:p>
            <a:pPr marL="226695" indent="-226695">
              <a:spcAft>
                <a:spcPts val="600"/>
              </a:spcAft>
              <a:buClr>
                <a:srgbClr val="3F3F3F"/>
              </a:buClr>
              <a:buSzPct val="100000"/>
              <a:buFont typeface="Arial" panose="020B0604020202020204" pitchFamily="34" charset="0"/>
              <a:buChar char="•"/>
            </a:pPr>
            <a:r>
              <a:rPr lang="en-US" sz="1400">
                <a:ea typeface="Helvetica Neue"/>
                <a:cs typeface="Helvetica Neue"/>
              </a:rPr>
              <a:t>332,417 total findings analyzed</a:t>
            </a:r>
          </a:p>
        </p:txBody>
      </p:sp>
      <p:sp>
        <p:nvSpPr>
          <p:cNvPr id="16" name="Google Shape;883;p247">
            <a:extLst>
              <a:ext uri="{FF2B5EF4-FFF2-40B4-BE49-F238E27FC236}">
                <a16:creationId xmlns:a16="http://schemas.microsoft.com/office/drawing/2014/main" id="{5BDEA917-94A5-D4AD-C2B8-719462008E64}"/>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Excluded &amp; debarred entities</a:t>
            </a:r>
            <a:endParaRPr lang="en-US"/>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Governmentwide</a:t>
            </a:r>
            <a:r>
              <a:rPr lang="en" sz="1400">
                <a:ea typeface="+mn-lt"/>
                <a:cs typeface="+mn-lt"/>
              </a:rPr>
              <a:t> exclusions</a:t>
            </a:r>
            <a:endParaRPr lang="en-US"/>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167,000 records </a:t>
            </a:r>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33,780 entities with UEI</a:t>
            </a:r>
            <a:endParaRPr lang="en"/>
          </a:p>
          <a:p>
            <a:pPr marL="226695" indent="-226695">
              <a:spcAft>
                <a:spcPts val="600"/>
              </a:spcAft>
              <a:buClr>
                <a:srgbClr val="3F3F3F"/>
              </a:buClr>
              <a:buSzPct val="100000"/>
              <a:buFont typeface="Arial" panose="020B0604020202020204" pitchFamily="34" charset="0"/>
              <a:buChar char="•"/>
            </a:pPr>
            <a:r>
              <a:rPr lang="en" sz="1400">
                <a:ea typeface="Helvetica Neue"/>
                <a:cs typeface="Helvetica Neue"/>
              </a:rPr>
              <a:t>Public Extract V2 (Dec 27, 2025)</a:t>
            </a:r>
          </a:p>
        </p:txBody>
      </p:sp>
      <p:cxnSp>
        <p:nvCxnSpPr>
          <p:cNvPr id="18" name="Google Shape;885;p247">
            <a:extLst>
              <a:ext uri="{FF2B5EF4-FFF2-40B4-BE49-F238E27FC236}">
                <a16:creationId xmlns:a16="http://schemas.microsoft.com/office/drawing/2014/main" id="{5FCABEC6-D840-D250-10F8-60124F6F036A}"/>
              </a:ext>
            </a:extLst>
          </p:cNvPr>
          <p:cNvCxnSpPr>
            <a:cxnSpLocks/>
          </p:cNvCxnSpPr>
          <p:nvPr/>
        </p:nvCxnSpPr>
        <p:spPr>
          <a:xfrm flipH="1">
            <a:off x="4144949" y="1816190"/>
            <a:ext cx="25685" cy="3132934"/>
          </a:xfrm>
          <a:prstGeom prst="straightConnector1">
            <a:avLst/>
          </a:prstGeom>
          <a:noFill/>
          <a:ln w="9525" cap="flat" cmpd="sng">
            <a:solidFill>
              <a:schemeClr val="tx1"/>
            </a:solidFill>
            <a:prstDash val="solid"/>
            <a:miter lim="800000"/>
            <a:headEnd type="none" w="sm" len="sm"/>
            <a:tailEnd type="none" w="sm" len="sm"/>
          </a:ln>
        </p:spPr>
      </p:cxnSp>
      <p:sp>
        <p:nvSpPr>
          <p:cNvPr id="6" name="Google Shape;890;p247">
            <a:extLst>
              <a:ext uri="{FF2B5EF4-FFF2-40B4-BE49-F238E27FC236}">
                <a16:creationId xmlns:a16="http://schemas.microsoft.com/office/drawing/2014/main" id="{13892457-AE0D-D268-68A4-5677515A98F7}"/>
              </a:ext>
            </a:extLst>
          </p:cNvPr>
          <p:cNvSpPr/>
          <p:nvPr/>
        </p:nvSpPr>
        <p:spPr>
          <a:xfrm>
            <a:off x="3995894" y="3734174"/>
            <a:ext cx="327273" cy="323868"/>
          </a:xfrm>
          <a:prstGeom prst="mathPlus">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22" name="Google Shape;934;p251">
            <a:extLst>
              <a:ext uri="{FF2B5EF4-FFF2-40B4-BE49-F238E27FC236}">
                <a16:creationId xmlns:a16="http://schemas.microsoft.com/office/drawing/2014/main" id="{ADB3FB28-9674-0AAE-90F2-B73A67E7812A}"/>
              </a:ext>
            </a:extLst>
          </p:cNvPr>
          <p:cNvSpPr/>
          <p:nvPr/>
        </p:nvSpPr>
        <p:spPr>
          <a:xfrm>
            <a:off x="1897492" y="5220176"/>
            <a:ext cx="8405773" cy="1631532"/>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200">
                <a:solidFill>
                  <a:schemeClr val="bg1"/>
                </a:solidFill>
                <a:ea typeface="Helvetica Neue"/>
                <a:cs typeface="Helvetica Neue"/>
              </a:rPr>
              <a:t>Connected by UEI Unique Entity Identifier</a:t>
            </a:r>
            <a:endParaRPr lang="en-US">
              <a:solidFill>
                <a:schemeClr val="bg1"/>
              </a:solidFill>
            </a:endParaRPr>
          </a:p>
        </p:txBody>
      </p:sp>
      <p:sp>
        <p:nvSpPr>
          <p:cNvPr id="8" name="Google Shape;538;p14">
            <a:extLst>
              <a:ext uri="{FF2B5EF4-FFF2-40B4-BE49-F238E27FC236}">
                <a16:creationId xmlns:a16="http://schemas.microsoft.com/office/drawing/2014/main" id="{5AC41F51-56AE-31A3-14E0-0A67ACDCEF9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3" name="TextBox 4">
            <a:extLst>
              <a:ext uri="{FF2B5EF4-FFF2-40B4-BE49-F238E27FC236}">
                <a16:creationId xmlns:a16="http://schemas.microsoft.com/office/drawing/2014/main" id="{D364CAAB-896F-13CE-8752-68A436375764}"/>
              </a:ext>
            </a:extLst>
          </p:cNvPr>
          <p:cNvSpPr txBox="1"/>
          <p:nvPr/>
        </p:nvSpPr>
        <p:spPr>
          <a:xfrm>
            <a:off x="651415" y="916744"/>
            <a:ext cx="8325530"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Three federal systems connected by one identifier. Separately, open data. Together, accountability.</a:t>
            </a:r>
            <a:endParaRPr lang="en-US"/>
          </a:p>
          <a:p>
            <a:endParaRPr lang="en-US" sz="1400">
              <a:solidFill>
                <a:srgbClr val="000000"/>
              </a:solidFill>
            </a:endParaRPr>
          </a:p>
        </p:txBody>
      </p:sp>
      <p:sp>
        <p:nvSpPr>
          <p:cNvPr id="10" name="Rectangle: Rounded Corners 9">
            <a:extLst>
              <a:ext uri="{FF2B5EF4-FFF2-40B4-BE49-F238E27FC236}">
                <a16:creationId xmlns:a16="http://schemas.microsoft.com/office/drawing/2014/main" id="{B696FEF3-69FF-49EC-758C-710F62EDA5DB}"/>
              </a:ext>
            </a:extLst>
          </p:cNvPr>
          <p:cNvSpPr/>
          <p:nvPr/>
        </p:nvSpPr>
        <p:spPr>
          <a:xfrm>
            <a:off x="1764491" y="4952342"/>
            <a:ext cx="9170886" cy="65926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oogle Shape;934;p251">
            <a:extLst>
              <a:ext uri="{FF2B5EF4-FFF2-40B4-BE49-F238E27FC236}">
                <a16:creationId xmlns:a16="http://schemas.microsoft.com/office/drawing/2014/main" id="{BEB1AEE9-795A-CB64-B008-790887F1502C}"/>
              </a:ext>
            </a:extLst>
          </p:cNvPr>
          <p:cNvSpPr/>
          <p:nvPr/>
        </p:nvSpPr>
        <p:spPr>
          <a:xfrm>
            <a:off x="1661493" y="4663852"/>
            <a:ext cx="9376228" cy="1220089"/>
          </a:xfrm>
          <a:prstGeom prst="rect">
            <a:avLst/>
          </a:prstGeom>
          <a:noFill/>
          <a:ln>
            <a:noFill/>
          </a:ln>
        </p:spPr>
        <p:txBody>
          <a:bodyPr spcFirstLastPara="1" wrap="square" lIns="91433" tIns="45700" rIns="91433" bIns="45700" anchor="ctr" anchorCtr="0">
            <a:noAutofit/>
          </a:bodyPr>
          <a:lstStyle/>
          <a:p>
            <a:pPr algn="ctr"/>
            <a:r>
              <a:rPr lang="en-US" sz="2600">
                <a:solidFill>
                  <a:schemeClr val="bg1"/>
                </a:solidFill>
                <a:ea typeface="+mn-lt"/>
                <a:cs typeface="+mn-lt"/>
                <a:sym typeface="Helvetica Neue"/>
              </a:rPr>
              <a:t>UEI is the key. Connecting spending, audits, and exclusions</a:t>
            </a:r>
            <a:endParaRPr lang="en-US" sz="2600">
              <a:solidFill>
                <a:schemeClr val="bg1"/>
              </a:solidFill>
            </a:endParaRPr>
          </a:p>
        </p:txBody>
      </p:sp>
      <p:sp>
        <p:nvSpPr>
          <p:cNvPr id="23" name="Google Shape;507;p14">
            <a:extLst>
              <a:ext uri="{FF2B5EF4-FFF2-40B4-BE49-F238E27FC236}">
                <a16:creationId xmlns:a16="http://schemas.microsoft.com/office/drawing/2014/main" id="{D76B7A1C-1332-11FA-FE76-AC3C8AE1EBA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 Federal Audit Clearinghouse (FY2016-2024), SAM.gov Public Extract 25361 (Dec 27, 2025)</a:t>
            </a:r>
            <a:endParaRPr lang="en-US"/>
          </a:p>
        </p:txBody>
      </p:sp>
      <p:sp>
        <p:nvSpPr>
          <p:cNvPr id="3" name="Rectangle 2">
            <a:extLst>
              <a:ext uri="{FF2B5EF4-FFF2-40B4-BE49-F238E27FC236}">
                <a16:creationId xmlns:a16="http://schemas.microsoft.com/office/drawing/2014/main" id="{7C79109E-E59C-DF0E-9299-B6F8AD4C6F64}"/>
              </a:ext>
            </a:extLst>
          </p:cNvPr>
          <p:cNvSpPr/>
          <p:nvPr/>
        </p:nvSpPr>
        <p:spPr>
          <a:xfrm>
            <a:off x="3663485" y="5698183"/>
            <a:ext cx="4865846" cy="609327"/>
          </a:xfrm>
          <a:prstGeom prst="round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US" sz="1400" b="1">
                <a:solidFill>
                  <a:schemeClr val="bg1"/>
                </a:solidFill>
              </a:rPr>
              <a:t>Powered by: Alteryx (Data Engineering), Tableau (Visuals), Python (ML)</a:t>
            </a:r>
            <a:endParaRPr lang="en-US">
              <a:solidFill>
                <a:schemeClr val="bg1"/>
              </a:solidFill>
            </a:endParaRPr>
          </a:p>
        </p:txBody>
      </p:sp>
      <p:sp>
        <p:nvSpPr>
          <p:cNvPr id="17" name="TextBox 16">
            <a:extLst>
              <a:ext uri="{FF2B5EF4-FFF2-40B4-BE49-F238E27FC236}">
                <a16:creationId xmlns:a16="http://schemas.microsoft.com/office/drawing/2014/main" id="{124A95CE-6D10-B072-0028-E83352C5EDBA}"/>
              </a:ext>
            </a:extLst>
          </p:cNvPr>
          <p:cNvSpPr txBox="1"/>
          <p:nvPr/>
        </p:nvSpPr>
        <p:spPr>
          <a:xfrm>
            <a:off x="3621783" y="4150083"/>
            <a:ext cx="2389909" cy="646331"/>
          </a:xfrm>
          <a:prstGeom prst="rect">
            <a:avLst/>
          </a:prstGeom>
          <a:solidFill>
            <a:srgbClr val="FEF25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Add data scope to this slide</a:t>
            </a:r>
          </a:p>
        </p:txBody>
      </p:sp>
    </p:spTree>
    <p:extLst>
      <p:ext uri="{BB962C8B-B14F-4D97-AF65-F5344CB8AC3E}">
        <p14:creationId xmlns:p14="http://schemas.microsoft.com/office/powerpoint/2010/main" val="3720278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C2C06-5250-BC22-FABD-CEEB778DC560}"/>
              </a:ext>
            </a:extLst>
          </p:cNvPr>
          <p:cNvSpPr>
            <a:spLocks noGrp="1"/>
          </p:cNvSpPr>
          <p:nvPr>
            <p:ph type="title"/>
          </p:nvPr>
        </p:nvSpPr>
        <p:spPr>
          <a:xfrm>
            <a:off x="554736" y="109851"/>
            <a:ext cx="11082528" cy="731520"/>
          </a:xfrm>
        </p:spPr>
        <p:txBody>
          <a:bodyPr/>
          <a:lstStyle/>
          <a:p>
            <a:r>
              <a:rPr lang="en-GB">
                <a:highlight>
                  <a:srgbClr val="FFFFFF"/>
                </a:highlight>
                <a:latin typeface="Arial"/>
                <a:cs typeface="Arial"/>
              </a:rPr>
              <a:t>Where Does Federal Funding Go?</a:t>
            </a:r>
            <a:endParaRPr lang="en-US"/>
          </a:p>
        </p:txBody>
      </p:sp>
      <p:pic>
        <p:nvPicPr>
          <p:cNvPr id="8" name="Picture 7">
            <a:extLst>
              <a:ext uri="{FF2B5EF4-FFF2-40B4-BE49-F238E27FC236}">
                <a16:creationId xmlns:a16="http://schemas.microsoft.com/office/drawing/2014/main" id="{AA906DC3-8B31-122E-ED0C-83B5D097DC57}"/>
              </a:ext>
            </a:extLst>
          </p:cNvPr>
          <p:cNvPicPr>
            <a:picLocks noChangeAspect="1"/>
          </p:cNvPicPr>
          <p:nvPr/>
        </p:nvPicPr>
        <p:blipFill>
          <a:blip r:embed="rId3"/>
          <a:srcRect l="775" t="19130" r="997" b="15217"/>
          <a:stretch>
            <a:fillRect/>
          </a:stretch>
        </p:blipFill>
        <p:spPr>
          <a:xfrm>
            <a:off x="200293" y="4875193"/>
            <a:ext cx="7859663" cy="1336266"/>
          </a:xfrm>
          <a:prstGeom prst="rect">
            <a:avLst/>
          </a:prstGeom>
        </p:spPr>
      </p:pic>
      <p:graphicFrame>
        <p:nvGraphicFramePr>
          <p:cNvPr id="26" name="Table 25">
            <a:extLst>
              <a:ext uri="{FF2B5EF4-FFF2-40B4-BE49-F238E27FC236}">
                <a16:creationId xmlns:a16="http://schemas.microsoft.com/office/drawing/2014/main" id="{25BECAAD-A7F0-A6B9-5729-CE992C5AD733}"/>
              </a:ext>
            </a:extLst>
          </p:cNvPr>
          <p:cNvGraphicFramePr>
            <a:graphicFrameLocks noGrp="1"/>
          </p:cNvGraphicFramePr>
          <p:nvPr>
            <p:extLst>
              <p:ext uri="{D42A27DB-BD31-4B8C-83A1-F6EECF244321}">
                <p14:modId xmlns:p14="http://schemas.microsoft.com/office/powerpoint/2010/main" val="1074019043"/>
              </p:ext>
            </p:extLst>
          </p:nvPr>
        </p:nvGraphicFramePr>
        <p:xfrm>
          <a:off x="8624014" y="1215947"/>
          <a:ext cx="3000839" cy="3268455"/>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Funding Snapshot</a:t>
                      </a:r>
                    </a:p>
                  </a:txBody>
                  <a:tcPr/>
                </a:tc>
                <a:extLst>
                  <a:ext uri="{0D108BD9-81ED-4DB2-BD59-A6C34878D82A}">
                    <a16:rowId xmlns:a16="http://schemas.microsoft.com/office/drawing/2014/main" val="3181032172"/>
                  </a:ext>
                </a:extLst>
              </a:tr>
              <a:tr h="1122218">
                <a:tc>
                  <a:txBody>
                    <a:bodyPr/>
                    <a:lstStyle/>
                    <a:p>
                      <a:r>
                        <a:rPr lang="en-US" sz="2400" b="1"/>
                        <a:t>$8.58 Trillion</a:t>
                      </a:r>
                      <a:br>
                        <a:rPr lang="en-US" sz="2400" b="1"/>
                      </a:br>
                      <a:r>
                        <a:rPr lang="en-US" sz="2000" b="1" i="0" u="none" strike="noStrike" noProof="0">
                          <a:solidFill>
                            <a:srgbClr val="000000"/>
                          </a:solidFill>
                          <a:latin typeface="Aptos"/>
                        </a:rPr>
                        <a:t>Federal Financial Assistance</a:t>
                      </a:r>
                      <a:endParaRPr lang="en-US"/>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4.37T to Top 10 States (51%)</a:t>
                      </a:r>
                      <a:endParaRPr lang="en-US"/>
                    </a:p>
                  </a:txBody>
                  <a:tcPr/>
                </a:tc>
                <a:extLst>
                  <a:ext uri="{0D108BD9-81ED-4DB2-BD59-A6C34878D82A}">
                    <a16:rowId xmlns:a16="http://schemas.microsoft.com/office/drawing/2014/main" val="2840237138"/>
                  </a:ext>
                </a:extLst>
              </a:tr>
              <a:tr h="477671">
                <a:tc>
                  <a:txBody>
                    <a:bodyPr/>
                    <a:lstStyle/>
                    <a:p>
                      <a:pPr lvl="0">
                        <a:buNone/>
                      </a:pPr>
                      <a:r>
                        <a:rPr lang="en-US" sz="1800" b="0" i="0" u="none" strike="noStrike" noProof="0">
                          <a:solidFill>
                            <a:srgbClr val="000000"/>
                          </a:solidFill>
                          <a:latin typeface="Aptos"/>
                        </a:rPr>
                        <a:t>$1.05T to California Alone (12%)</a:t>
                      </a:r>
                    </a:p>
                  </a:txBody>
                  <a:tcPr/>
                </a:tc>
                <a:extLst>
                  <a:ext uri="{0D108BD9-81ED-4DB2-BD59-A6C34878D82A}">
                    <a16:rowId xmlns:a16="http://schemas.microsoft.com/office/drawing/2014/main" val="2812688270"/>
                  </a:ext>
                </a:extLst>
              </a:tr>
              <a:tr h="464127">
                <a:tc>
                  <a:txBody>
                    <a:bodyPr/>
                    <a:lstStyle/>
                    <a:p>
                      <a:pPr lvl="0">
                        <a:buNone/>
                      </a:pPr>
                      <a:r>
                        <a:rPr lang="en-US" sz="1800" b="0" i="0" u="none" strike="noStrike" noProof="0">
                          <a:solidFill>
                            <a:srgbClr val="000000"/>
                          </a:solidFill>
                          <a:latin typeface="Aptos"/>
                        </a:rPr>
                        <a:t>181,922 Recipients Tracked</a:t>
                      </a:r>
                    </a:p>
                  </a:txBody>
                  <a:tcPr/>
                </a:tc>
                <a:extLst>
                  <a:ext uri="{0D108BD9-81ED-4DB2-BD59-A6C34878D82A}">
                    <a16:rowId xmlns:a16="http://schemas.microsoft.com/office/drawing/2014/main" val="2896748848"/>
                  </a:ext>
                </a:extLst>
              </a:tr>
            </a:tbl>
          </a:graphicData>
        </a:graphic>
      </p:graphicFrame>
      <p:pic>
        <p:nvPicPr>
          <p:cNvPr id="27" name="Picture 26" descr="A map of the united states with different states">
            <a:extLst>
              <a:ext uri="{FF2B5EF4-FFF2-40B4-BE49-F238E27FC236}">
                <a16:creationId xmlns:a16="http://schemas.microsoft.com/office/drawing/2014/main" id="{56771E8E-0915-3F0F-9AAF-4B9BB5EDBE1A}"/>
              </a:ext>
            </a:extLst>
          </p:cNvPr>
          <p:cNvPicPr>
            <a:picLocks noChangeAspect="1"/>
          </p:cNvPicPr>
          <p:nvPr/>
        </p:nvPicPr>
        <p:blipFill>
          <a:blip r:embed="rId4"/>
          <a:srcRect r="662" b="624"/>
          <a:stretch>
            <a:fillRect/>
          </a:stretch>
        </p:blipFill>
        <p:spPr>
          <a:xfrm>
            <a:off x="1415434" y="1246299"/>
            <a:ext cx="6642332" cy="3631059"/>
          </a:xfrm>
          <a:prstGeom prst="rect">
            <a:avLst/>
          </a:prstGeom>
        </p:spPr>
      </p:pic>
      <p:sp>
        <p:nvSpPr>
          <p:cNvPr id="4" name="Google Shape;538;p14">
            <a:extLst>
              <a:ext uri="{FF2B5EF4-FFF2-40B4-BE49-F238E27FC236}">
                <a16:creationId xmlns:a16="http://schemas.microsoft.com/office/drawing/2014/main" id="{4D51B276-1AFE-22B5-7B87-936AC862FCE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Datathon 2026</a:t>
            </a:r>
            <a:endParaRPr lang="en-US"/>
          </a:p>
        </p:txBody>
      </p:sp>
      <p:sp>
        <p:nvSpPr>
          <p:cNvPr id="6" name="Google Shape;507;p14">
            <a:extLst>
              <a:ext uri="{FF2B5EF4-FFF2-40B4-BE49-F238E27FC236}">
                <a16:creationId xmlns:a16="http://schemas.microsoft.com/office/drawing/2014/main" id="{BA75B00E-3E1D-9C2F-1E20-F1B7351395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a:t>
            </a:r>
            <a:endParaRPr lang="en-US"/>
          </a:p>
        </p:txBody>
      </p:sp>
      <p:sp>
        <p:nvSpPr>
          <p:cNvPr id="9" name="TextBox 4">
            <a:extLst>
              <a:ext uri="{FF2B5EF4-FFF2-40B4-BE49-F238E27FC236}">
                <a16:creationId xmlns:a16="http://schemas.microsoft.com/office/drawing/2014/main" id="{7A8CE550-7088-2669-9C88-0937CA68606D}"/>
              </a:ext>
            </a:extLst>
          </p:cNvPr>
          <p:cNvSpPr txBox="1"/>
          <p:nvPr/>
        </p:nvSpPr>
        <p:spPr>
          <a:xfrm>
            <a:off x="651415" y="916744"/>
            <a:ext cx="7977252"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Half of all federal assistance awards flow to just 10 states. This is where the money lands.</a:t>
            </a:r>
            <a:endParaRPr lang="en-US" sz="1400"/>
          </a:p>
        </p:txBody>
      </p:sp>
      <p:sp>
        <p:nvSpPr>
          <p:cNvPr id="5" name="Rectangle: Rounded Corners 4">
            <a:extLst>
              <a:ext uri="{FF2B5EF4-FFF2-40B4-BE49-F238E27FC236}">
                <a16:creationId xmlns:a16="http://schemas.microsoft.com/office/drawing/2014/main" id="{80838245-3971-0D9F-EE90-676912B01CF2}"/>
              </a:ext>
            </a:extLst>
          </p:cNvPr>
          <p:cNvSpPr/>
          <p:nvPr/>
        </p:nvSpPr>
        <p:spPr>
          <a:xfrm>
            <a:off x="8878363" y="4908359"/>
            <a:ext cx="2518354" cy="17387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934;p251">
            <a:extLst>
              <a:ext uri="{FF2B5EF4-FFF2-40B4-BE49-F238E27FC236}">
                <a16:creationId xmlns:a16="http://schemas.microsoft.com/office/drawing/2014/main" id="{9F432104-4B23-2D3A-C867-7B1336E52EF5}"/>
              </a:ext>
            </a:extLst>
          </p:cNvPr>
          <p:cNvSpPr/>
          <p:nvPr/>
        </p:nvSpPr>
        <p:spPr>
          <a:xfrm>
            <a:off x="8870450" y="5114990"/>
            <a:ext cx="2528995" cy="1323408"/>
          </a:xfrm>
          <a:prstGeom prst="rect">
            <a:avLst/>
          </a:prstGeom>
          <a:noFill/>
          <a:ln>
            <a:noFill/>
          </a:ln>
        </p:spPr>
        <p:txBody>
          <a:bodyPr spcFirstLastPara="1" wrap="square" lIns="91433" tIns="45700" rIns="91433" bIns="45700" anchor="ctr" anchorCtr="0">
            <a:noAutofit/>
          </a:bodyPr>
          <a:lstStyle/>
          <a:p>
            <a:pPr algn="ctr"/>
            <a:r>
              <a:rPr lang="en-US" sz="2000">
                <a:solidFill>
                  <a:schemeClr val="bg1"/>
                </a:solidFill>
                <a:ea typeface="+mn-lt"/>
                <a:cs typeface="+mn-lt"/>
              </a:rPr>
              <a:t>You can see where the money goes. </a:t>
            </a:r>
            <a:br>
              <a:rPr lang="en-US" sz="2000">
                <a:solidFill>
                  <a:schemeClr val="bg1"/>
                </a:solidFill>
                <a:ea typeface="+mn-lt"/>
                <a:cs typeface="+mn-lt"/>
              </a:rPr>
            </a:br>
            <a:r>
              <a:rPr lang="en-US" sz="2000">
                <a:solidFill>
                  <a:schemeClr val="bg1">
                    <a:lumMod val="95000"/>
                  </a:schemeClr>
                </a:solidFill>
                <a:ea typeface="+mn-lt"/>
                <a:cs typeface="+mn-lt"/>
              </a:rPr>
              <a:t>But can you trust who receives it?</a:t>
            </a:r>
            <a:endParaRPr lang="en-US" sz="2000">
              <a:solidFill>
                <a:schemeClr val="bg1">
                  <a:lumMod val="95000"/>
                </a:schemeClr>
              </a:solidFill>
            </a:endParaRPr>
          </a:p>
        </p:txBody>
      </p:sp>
      <p:sp>
        <p:nvSpPr>
          <p:cNvPr id="7" name="TextBox 4">
            <a:extLst>
              <a:ext uri="{FF2B5EF4-FFF2-40B4-BE49-F238E27FC236}">
                <a16:creationId xmlns:a16="http://schemas.microsoft.com/office/drawing/2014/main" id="{88BB30DB-D2D2-E266-9E24-3DE64652F4B7}"/>
              </a:ext>
            </a:extLst>
          </p:cNvPr>
          <p:cNvSpPr txBox="1"/>
          <p:nvPr/>
        </p:nvSpPr>
        <p:spPr>
          <a:xfrm>
            <a:off x="964173" y="4586292"/>
            <a:ext cx="565723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Total Federal Awards</a:t>
            </a:r>
            <a:endParaRPr lang="en-US">
              <a:solidFill>
                <a:schemeClr val="bg2">
                  <a:lumMod val="25000"/>
                </a:schemeClr>
              </a:solidFill>
            </a:endParaRPr>
          </a:p>
          <a:p>
            <a:endParaRPr lang="en-US" sz="1400" b="1">
              <a:solidFill>
                <a:srgbClr val="000000"/>
              </a:solidFill>
            </a:endParaRPr>
          </a:p>
        </p:txBody>
      </p:sp>
    </p:spTree>
    <p:extLst>
      <p:ext uri="{BB962C8B-B14F-4D97-AF65-F5344CB8AC3E}">
        <p14:creationId xmlns:p14="http://schemas.microsoft.com/office/powerpoint/2010/main" val="1562903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EAF20-A061-7735-6939-C19009B9F0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A4A670-4F96-D5A1-F22E-3FD36F916BB8}"/>
              </a:ext>
            </a:extLst>
          </p:cNvPr>
          <p:cNvSpPr>
            <a:spLocks noGrp="1"/>
          </p:cNvSpPr>
          <p:nvPr>
            <p:ph type="title"/>
          </p:nvPr>
        </p:nvSpPr>
        <p:spPr>
          <a:xfrm>
            <a:off x="554736" y="109851"/>
            <a:ext cx="11082528" cy="731520"/>
          </a:xfrm>
        </p:spPr>
        <p:txBody>
          <a:bodyPr/>
          <a:lstStyle/>
          <a:p>
            <a:r>
              <a:rPr lang="en-GB">
                <a:highlight>
                  <a:srgbClr val="FFFFFF"/>
                </a:highlight>
                <a:latin typeface="Arial"/>
                <a:cs typeface="Arial"/>
              </a:rPr>
              <a:t>Federal Financial Assistance Over Time</a:t>
            </a:r>
            <a:endParaRPr lang="en-US"/>
          </a:p>
        </p:txBody>
      </p:sp>
      <p:grpSp>
        <p:nvGrpSpPr>
          <p:cNvPr id="27" name="Group 26">
            <a:extLst>
              <a:ext uri="{FF2B5EF4-FFF2-40B4-BE49-F238E27FC236}">
                <a16:creationId xmlns:a16="http://schemas.microsoft.com/office/drawing/2014/main" id="{6A5CD9C1-A79F-88FA-BAF6-98FBA8AC543E}"/>
              </a:ext>
            </a:extLst>
          </p:cNvPr>
          <p:cNvGrpSpPr/>
          <p:nvPr/>
        </p:nvGrpSpPr>
        <p:grpSpPr>
          <a:xfrm>
            <a:off x="654281" y="1721959"/>
            <a:ext cx="7745103" cy="3730874"/>
            <a:chOff x="1433014" y="1389131"/>
            <a:chExt cx="7745103" cy="3730874"/>
          </a:xfrm>
        </p:grpSpPr>
        <p:pic>
          <p:nvPicPr>
            <p:cNvPr id="4" name="Picture 3" descr="A graph showing the price of a stock market&#10;&#10;AI-generated content may be incorrect.">
              <a:extLst>
                <a:ext uri="{FF2B5EF4-FFF2-40B4-BE49-F238E27FC236}">
                  <a16:creationId xmlns:a16="http://schemas.microsoft.com/office/drawing/2014/main" id="{331E6B17-26A5-E4DF-3406-F922AE0B9D0B}"/>
                </a:ext>
              </a:extLst>
            </p:cNvPr>
            <p:cNvPicPr>
              <a:picLocks noChangeAspect="1"/>
            </p:cNvPicPr>
            <p:nvPr/>
          </p:nvPicPr>
          <p:blipFill>
            <a:blip r:embed="rId3"/>
            <a:srcRect l="13359" t="2857" r="-260" b="3429"/>
            <a:stretch>
              <a:fillRect/>
            </a:stretch>
          </p:blipFill>
          <p:spPr>
            <a:xfrm>
              <a:off x="1433015" y="1389131"/>
              <a:ext cx="7617534" cy="3730874"/>
            </a:xfrm>
            <a:prstGeom prst="rect">
              <a:avLst/>
            </a:prstGeom>
          </p:spPr>
        </p:pic>
        <p:grpSp>
          <p:nvGrpSpPr>
            <p:cNvPr id="3" name="Group 2">
              <a:extLst>
                <a:ext uri="{FF2B5EF4-FFF2-40B4-BE49-F238E27FC236}">
                  <a16:creationId xmlns:a16="http://schemas.microsoft.com/office/drawing/2014/main" id="{7E4FAC6A-5F9B-6177-5C4B-8FAFE341CEFB}"/>
                </a:ext>
              </a:extLst>
            </p:cNvPr>
            <p:cNvGrpSpPr/>
            <p:nvPr/>
          </p:nvGrpSpPr>
          <p:grpSpPr>
            <a:xfrm>
              <a:off x="1433014" y="4639725"/>
              <a:ext cx="7745103" cy="369334"/>
              <a:chOff x="1433014" y="4639725"/>
              <a:chExt cx="7745103" cy="369334"/>
            </a:xfrm>
          </p:grpSpPr>
          <p:sp>
            <p:nvSpPr>
              <p:cNvPr id="6" name="TextBox 5">
                <a:extLst>
                  <a:ext uri="{FF2B5EF4-FFF2-40B4-BE49-F238E27FC236}">
                    <a16:creationId xmlns:a16="http://schemas.microsoft.com/office/drawing/2014/main" id="{874100F4-C2DA-5490-EA52-81EDFBEE9C87}"/>
                  </a:ext>
                </a:extLst>
              </p:cNvPr>
              <p:cNvSpPr txBox="1"/>
              <p:nvPr/>
            </p:nvSpPr>
            <p:spPr>
              <a:xfrm>
                <a:off x="1433014" y="4639727"/>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19</a:t>
                </a:r>
              </a:p>
            </p:txBody>
          </p:sp>
          <p:sp>
            <p:nvSpPr>
              <p:cNvPr id="7" name="TextBox 6">
                <a:extLst>
                  <a:ext uri="{FF2B5EF4-FFF2-40B4-BE49-F238E27FC236}">
                    <a16:creationId xmlns:a16="http://schemas.microsoft.com/office/drawing/2014/main" id="{483F13D1-1806-229D-B661-DE96D845C2F8}"/>
                  </a:ext>
                </a:extLst>
              </p:cNvPr>
              <p:cNvSpPr txBox="1"/>
              <p:nvPr/>
            </p:nvSpPr>
            <p:spPr>
              <a:xfrm>
                <a:off x="2775043" y="4639726"/>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0</a:t>
                </a:r>
              </a:p>
            </p:txBody>
          </p:sp>
          <p:sp>
            <p:nvSpPr>
              <p:cNvPr id="9" name="TextBox 8">
                <a:extLst>
                  <a:ext uri="{FF2B5EF4-FFF2-40B4-BE49-F238E27FC236}">
                    <a16:creationId xmlns:a16="http://schemas.microsoft.com/office/drawing/2014/main" id="{D8B20DA1-F1A3-9657-3380-9BC575936083}"/>
                  </a:ext>
                </a:extLst>
              </p:cNvPr>
              <p:cNvSpPr txBox="1"/>
              <p:nvPr/>
            </p:nvSpPr>
            <p:spPr>
              <a:xfrm>
                <a:off x="4154386" y="4639725"/>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1</a:t>
                </a:r>
              </a:p>
            </p:txBody>
          </p:sp>
          <p:sp>
            <p:nvSpPr>
              <p:cNvPr id="10" name="TextBox 9">
                <a:extLst>
                  <a:ext uri="{FF2B5EF4-FFF2-40B4-BE49-F238E27FC236}">
                    <a16:creationId xmlns:a16="http://schemas.microsoft.com/office/drawing/2014/main" id="{056CDA96-F733-A44D-9102-93A88BB200C8}"/>
                  </a:ext>
                </a:extLst>
              </p:cNvPr>
              <p:cNvSpPr txBox="1"/>
              <p:nvPr/>
            </p:nvSpPr>
            <p:spPr>
              <a:xfrm>
                <a:off x="5467664" y="4639725"/>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2</a:t>
                </a:r>
              </a:p>
            </p:txBody>
          </p:sp>
          <p:sp>
            <p:nvSpPr>
              <p:cNvPr id="11" name="TextBox 10">
                <a:extLst>
                  <a:ext uri="{FF2B5EF4-FFF2-40B4-BE49-F238E27FC236}">
                    <a16:creationId xmlns:a16="http://schemas.microsoft.com/office/drawing/2014/main" id="{E84E63EC-ACF1-422A-D72E-10CDC12D4707}"/>
                  </a:ext>
                </a:extLst>
              </p:cNvPr>
              <p:cNvSpPr txBox="1"/>
              <p:nvPr/>
            </p:nvSpPr>
            <p:spPr>
              <a:xfrm>
                <a:off x="6744266" y="4639726"/>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3</a:t>
                </a:r>
              </a:p>
            </p:txBody>
          </p:sp>
          <p:sp>
            <p:nvSpPr>
              <p:cNvPr id="12" name="TextBox 11">
                <a:extLst>
                  <a:ext uri="{FF2B5EF4-FFF2-40B4-BE49-F238E27FC236}">
                    <a16:creationId xmlns:a16="http://schemas.microsoft.com/office/drawing/2014/main" id="{0DDA3504-D18A-BB61-6BAA-6707B83E2D1C}"/>
                  </a:ext>
                </a:extLst>
              </p:cNvPr>
              <p:cNvSpPr txBox="1"/>
              <p:nvPr/>
            </p:nvSpPr>
            <p:spPr>
              <a:xfrm>
                <a:off x="8143162" y="4639726"/>
                <a:ext cx="10349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4</a:t>
                </a:r>
              </a:p>
            </p:txBody>
          </p:sp>
        </p:grpSp>
      </p:grpSp>
      <p:sp>
        <p:nvSpPr>
          <p:cNvPr id="17" name="Google Shape;934;p251">
            <a:extLst>
              <a:ext uri="{FF2B5EF4-FFF2-40B4-BE49-F238E27FC236}">
                <a16:creationId xmlns:a16="http://schemas.microsoft.com/office/drawing/2014/main" id="{F00FB85E-648C-C0E7-E137-F3A233ED4C78}"/>
              </a:ext>
            </a:extLst>
          </p:cNvPr>
          <p:cNvSpPr/>
          <p:nvPr/>
        </p:nvSpPr>
        <p:spPr>
          <a:xfrm>
            <a:off x="2498047" y="5305018"/>
            <a:ext cx="7713842" cy="1631532"/>
          </a:xfrm>
          <a:prstGeom prst="rect">
            <a:avLst/>
          </a:prstGeom>
          <a:noFill/>
          <a:ln>
            <a:noFill/>
          </a:ln>
        </p:spPr>
        <p:txBody>
          <a:bodyPr spcFirstLastPara="1" wrap="square" lIns="91433" tIns="45700" rIns="91433" bIns="45700" anchor="ctr" anchorCtr="0">
            <a:noAutofit/>
          </a:bodyPr>
          <a:lstStyle/>
          <a:p>
            <a:pPr algn="ctr"/>
            <a:endParaRPr lang="en-US" sz="2400">
              <a:solidFill>
                <a:schemeClr val="bg1"/>
              </a:solidFill>
            </a:endParaRPr>
          </a:p>
        </p:txBody>
      </p:sp>
      <p:sp>
        <p:nvSpPr>
          <p:cNvPr id="13" name="Google Shape;538;p14">
            <a:extLst>
              <a:ext uri="{FF2B5EF4-FFF2-40B4-BE49-F238E27FC236}">
                <a16:creationId xmlns:a16="http://schemas.microsoft.com/office/drawing/2014/main" id="{09799A9E-E88C-FA03-E6D0-5F834D6B1C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21" name="Google Shape;507;p14">
            <a:extLst>
              <a:ext uri="{FF2B5EF4-FFF2-40B4-BE49-F238E27FC236}">
                <a16:creationId xmlns:a16="http://schemas.microsoft.com/office/drawing/2014/main" id="{D0EF3B6B-491A-C8BC-2A15-E7EFC0B5B5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a:t>
            </a:r>
            <a:endParaRPr lang="en-US"/>
          </a:p>
        </p:txBody>
      </p:sp>
      <p:sp>
        <p:nvSpPr>
          <p:cNvPr id="23" name="TextBox 4">
            <a:extLst>
              <a:ext uri="{FF2B5EF4-FFF2-40B4-BE49-F238E27FC236}">
                <a16:creationId xmlns:a16="http://schemas.microsoft.com/office/drawing/2014/main" id="{6F7F026D-A2E6-36FA-DCE5-A96A072418BC}"/>
              </a:ext>
            </a:extLst>
          </p:cNvPr>
          <p:cNvSpPr txBox="1"/>
          <p:nvPr/>
        </p:nvSpPr>
        <p:spPr>
          <a:xfrm>
            <a:off x="651415" y="916744"/>
            <a:ext cx="7643247"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COVID drove funding to record highs. The baseline nearly doubled. Did accountability keep pace?</a:t>
            </a:r>
            <a:endParaRPr lang="en-US" sz="1400"/>
          </a:p>
        </p:txBody>
      </p:sp>
      <p:graphicFrame>
        <p:nvGraphicFramePr>
          <p:cNvPr id="29" name="Table 28">
            <a:extLst>
              <a:ext uri="{FF2B5EF4-FFF2-40B4-BE49-F238E27FC236}">
                <a16:creationId xmlns:a16="http://schemas.microsoft.com/office/drawing/2014/main" id="{CF1E6589-C37D-3B4B-0F14-ADC2F34C58F2}"/>
              </a:ext>
            </a:extLst>
          </p:cNvPr>
          <p:cNvGraphicFramePr>
            <a:graphicFrameLocks noGrp="1"/>
          </p:cNvGraphicFramePr>
          <p:nvPr>
            <p:extLst>
              <p:ext uri="{D42A27DB-BD31-4B8C-83A1-F6EECF244321}">
                <p14:modId xmlns:p14="http://schemas.microsoft.com/office/powerpoint/2010/main" val="1992279062"/>
              </p:ext>
            </p:extLst>
          </p:nvPr>
        </p:nvGraphicFramePr>
        <p:xfrm>
          <a:off x="8632208" y="1330657"/>
          <a:ext cx="3000839" cy="2787391"/>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Trend Snapshot</a:t>
                      </a:r>
                    </a:p>
                  </a:txBody>
                  <a:tcPr/>
                </a:tc>
                <a:extLst>
                  <a:ext uri="{0D108BD9-81ED-4DB2-BD59-A6C34878D82A}">
                    <a16:rowId xmlns:a16="http://schemas.microsoft.com/office/drawing/2014/main" val="3181032172"/>
                  </a:ext>
                </a:extLst>
              </a:tr>
              <a:tr h="803563">
                <a:tc>
                  <a:txBody>
                    <a:bodyPr/>
                    <a:lstStyle/>
                    <a:p>
                      <a:pPr lvl="0">
                        <a:buNone/>
                      </a:pPr>
                      <a:r>
                        <a:rPr lang="en-US" sz="2400" b="1" i="0" u="none" strike="noStrike" noProof="0">
                          <a:solidFill>
                            <a:srgbClr val="000000"/>
                          </a:solidFill>
                          <a:latin typeface="Aptos"/>
                        </a:rPr>
                        <a:t>$2.04 Trillion </a:t>
                      </a:r>
                      <a:br>
                        <a:rPr lang="en-US" sz="2400" b="1" i="0" u="none" strike="noStrike" noProof="0">
                          <a:solidFill>
                            <a:srgbClr val="000000"/>
                          </a:solidFill>
                          <a:latin typeface="Aptos"/>
                        </a:rPr>
                      </a:br>
                      <a:r>
                        <a:rPr lang="en-US" sz="2000" b="1" i="0" u="none" strike="noStrike" kern="1200" noProof="0">
                          <a:solidFill>
                            <a:srgbClr val="000000"/>
                          </a:solidFill>
                          <a:latin typeface="Aptos"/>
                          <a:ea typeface="+mn-ea"/>
                          <a:cs typeface="+mn-cs"/>
                        </a:rPr>
                        <a:t>FY2021 Peak (COVID)</a:t>
                      </a:r>
                      <a:endParaRPr lang="en-US" sz="2000" b="1" i="0" u="none" strike="noStrike" kern="1200">
                        <a:solidFill>
                          <a:srgbClr val="000000"/>
                        </a:solidFill>
                        <a:latin typeface="Aptos"/>
                        <a:ea typeface="+mn-ea"/>
                        <a:cs typeface="+mn-cs"/>
                      </a:endParaRP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1.4 Trillion Stabilized by FY2022</a:t>
                      </a:r>
                      <a:endParaRPr lang="en-US"/>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latin typeface="Aptos"/>
                        </a:rPr>
                        <a:t>3 Years Flat FY2022-2024</a:t>
                      </a:r>
                    </a:p>
                  </a:txBody>
                  <a:tcPr/>
                </a:tc>
                <a:extLst>
                  <a:ext uri="{0D108BD9-81ED-4DB2-BD59-A6C34878D82A}">
                    <a16:rowId xmlns:a16="http://schemas.microsoft.com/office/drawing/2014/main" val="2812688270"/>
                  </a:ext>
                </a:extLst>
              </a:tr>
              <a:tr h="464127">
                <a:tc>
                  <a:txBody>
                    <a:bodyPr/>
                    <a:lstStyle/>
                    <a:p>
                      <a:pPr lvl="0">
                        <a:buNone/>
                      </a:pPr>
                      <a:r>
                        <a:rPr lang="en-US" sz="1800" b="0" i="0" u="none" strike="noStrike" noProof="0">
                          <a:solidFill>
                            <a:srgbClr val="000000"/>
                          </a:solidFill>
                          <a:latin typeface="Aptos"/>
                        </a:rPr>
                        <a:t>$8.58T Total Over 6 Years</a:t>
                      </a:r>
                    </a:p>
                  </a:txBody>
                  <a:tcPr/>
                </a:tc>
                <a:extLst>
                  <a:ext uri="{0D108BD9-81ED-4DB2-BD59-A6C34878D82A}">
                    <a16:rowId xmlns:a16="http://schemas.microsoft.com/office/drawing/2014/main" val="2896748848"/>
                  </a:ext>
                </a:extLst>
              </a:tr>
            </a:tbl>
          </a:graphicData>
        </a:graphic>
      </p:graphicFrame>
      <p:sp>
        <p:nvSpPr>
          <p:cNvPr id="8" name="Rectangle: Rounded Corners 7">
            <a:extLst>
              <a:ext uri="{FF2B5EF4-FFF2-40B4-BE49-F238E27FC236}">
                <a16:creationId xmlns:a16="http://schemas.microsoft.com/office/drawing/2014/main" id="{5B3147EA-3CFF-6F45-B099-AEF38F94E9D4}"/>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Google Shape;934;p251">
            <a:extLst>
              <a:ext uri="{FF2B5EF4-FFF2-40B4-BE49-F238E27FC236}">
                <a16:creationId xmlns:a16="http://schemas.microsoft.com/office/drawing/2014/main" id="{F5A87B64-B5E5-E07A-89C4-5375429694C9}"/>
              </a:ext>
            </a:extLst>
          </p:cNvPr>
          <p:cNvSpPr/>
          <p:nvPr/>
        </p:nvSpPr>
        <p:spPr>
          <a:xfrm>
            <a:off x="8870450" y="5114990"/>
            <a:ext cx="2528995" cy="1323408"/>
          </a:xfrm>
          <a:prstGeom prst="rect">
            <a:avLst/>
          </a:prstGeom>
          <a:noFill/>
          <a:ln>
            <a:noFill/>
          </a:ln>
        </p:spPr>
        <p:txBody>
          <a:bodyPr spcFirstLastPara="1" wrap="square" lIns="91433" tIns="45700" rIns="91433" bIns="45700" anchor="ctr" anchorCtr="0">
            <a:noAutofit/>
          </a:bodyPr>
          <a:lstStyle/>
          <a:p>
            <a:pPr algn="ctr"/>
            <a:r>
              <a:rPr lang="en-US" sz="2200">
                <a:solidFill>
                  <a:schemeClr val="bg1"/>
                </a:solidFill>
                <a:ea typeface="+mn-lt"/>
                <a:cs typeface="+mn-lt"/>
              </a:rPr>
              <a:t>Spending up 76%. </a:t>
            </a:r>
            <a:r>
              <a:rPr lang="en-US" sz="2200">
                <a:solidFill>
                  <a:schemeClr val="bg1">
                    <a:lumMod val="95000"/>
                  </a:schemeClr>
                </a:solidFill>
                <a:ea typeface="+mn-lt"/>
                <a:cs typeface="+mn-lt"/>
              </a:rPr>
              <a:t>Oversight unchanged.</a:t>
            </a:r>
            <a:endParaRPr lang="en-US">
              <a:solidFill>
                <a:schemeClr val="bg1">
                  <a:lumMod val="95000"/>
                </a:schemeClr>
              </a:solidFill>
            </a:endParaRPr>
          </a:p>
        </p:txBody>
      </p:sp>
      <p:sp>
        <p:nvSpPr>
          <p:cNvPr id="22" name="Right Brace 21">
            <a:extLst>
              <a:ext uri="{FF2B5EF4-FFF2-40B4-BE49-F238E27FC236}">
                <a16:creationId xmlns:a16="http://schemas.microsoft.com/office/drawing/2014/main" id="{06D07998-B601-2D19-A4B3-18C00C1B45E5}"/>
              </a:ext>
            </a:extLst>
          </p:cNvPr>
          <p:cNvSpPr/>
          <p:nvPr/>
        </p:nvSpPr>
        <p:spPr>
          <a:xfrm rot="5400000">
            <a:off x="4179769" y="1112380"/>
            <a:ext cx="459638" cy="671122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4" name="TextBox 4">
            <a:extLst>
              <a:ext uri="{FF2B5EF4-FFF2-40B4-BE49-F238E27FC236}">
                <a16:creationId xmlns:a16="http://schemas.microsoft.com/office/drawing/2014/main" id="{298C9059-EA68-F732-5FAB-4A6F425CD81F}"/>
              </a:ext>
            </a:extLst>
          </p:cNvPr>
          <p:cNvSpPr txBox="1"/>
          <p:nvPr/>
        </p:nvSpPr>
        <p:spPr>
          <a:xfrm>
            <a:off x="3778242" y="4700468"/>
            <a:ext cx="1450902"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76% in 5 Years</a:t>
            </a:r>
            <a:endParaRPr lang="en-US"/>
          </a:p>
        </p:txBody>
      </p:sp>
    </p:spTree>
    <p:extLst>
      <p:ext uri="{BB962C8B-B14F-4D97-AF65-F5344CB8AC3E}">
        <p14:creationId xmlns:p14="http://schemas.microsoft.com/office/powerpoint/2010/main" val="1998565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D1DB7-5A59-F3B5-5C7D-182B55E7F9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1A9AC7-FC64-59B5-0770-0482ECDC2C1B}"/>
              </a:ext>
            </a:extLst>
          </p:cNvPr>
          <p:cNvSpPr>
            <a:spLocks noGrp="1"/>
          </p:cNvSpPr>
          <p:nvPr>
            <p:ph type="title"/>
          </p:nvPr>
        </p:nvSpPr>
        <p:spPr>
          <a:xfrm>
            <a:off x="554736" y="109851"/>
            <a:ext cx="8805286" cy="731520"/>
          </a:xfrm>
        </p:spPr>
        <p:txBody>
          <a:bodyPr>
            <a:normAutofit/>
          </a:bodyPr>
          <a:lstStyle/>
          <a:p>
            <a:r>
              <a:rPr lang="en-GB">
                <a:highlight>
                  <a:srgbClr val="FFFFFF"/>
                </a:highlight>
                <a:latin typeface="Arial"/>
                <a:cs typeface="Arial"/>
              </a:rPr>
              <a:t>How Is Funding Concentrated?</a:t>
            </a:r>
            <a:endParaRPr lang="en-US"/>
          </a:p>
        </p:txBody>
      </p:sp>
      <p:pic>
        <p:nvPicPr>
          <p:cNvPr id="3" name="Picture 2" descr="A screenshot of a computer&#10;&#10;AI-generated content may be incorrect.">
            <a:extLst>
              <a:ext uri="{FF2B5EF4-FFF2-40B4-BE49-F238E27FC236}">
                <a16:creationId xmlns:a16="http://schemas.microsoft.com/office/drawing/2014/main" id="{51787F71-BC29-B74A-00D3-7C48064D9106}"/>
              </a:ext>
            </a:extLst>
          </p:cNvPr>
          <p:cNvPicPr>
            <a:picLocks noChangeAspect="1"/>
          </p:cNvPicPr>
          <p:nvPr/>
        </p:nvPicPr>
        <p:blipFill>
          <a:blip r:embed="rId3"/>
          <a:srcRect l="45" t="9917" r="460" b="1464"/>
          <a:stretch>
            <a:fillRect/>
          </a:stretch>
        </p:blipFill>
        <p:spPr>
          <a:xfrm>
            <a:off x="554736" y="1916874"/>
            <a:ext cx="4924465" cy="2441174"/>
          </a:xfrm>
          <a:prstGeom prst="rect">
            <a:avLst/>
          </a:prstGeom>
        </p:spPr>
      </p:pic>
      <p:sp>
        <p:nvSpPr>
          <p:cNvPr id="16" name="Rectangle: Rounded Corners 15">
            <a:extLst>
              <a:ext uri="{FF2B5EF4-FFF2-40B4-BE49-F238E27FC236}">
                <a16:creationId xmlns:a16="http://schemas.microsoft.com/office/drawing/2014/main" id="{9B190FFE-9C86-EC9F-51AD-4C370C1E65D7}"/>
              </a:ext>
            </a:extLst>
          </p:cNvPr>
          <p:cNvSpPr/>
          <p:nvPr/>
        </p:nvSpPr>
        <p:spPr>
          <a:xfrm>
            <a:off x="1674254" y="5113413"/>
            <a:ext cx="8817129" cy="9362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934;p251">
            <a:extLst>
              <a:ext uri="{FF2B5EF4-FFF2-40B4-BE49-F238E27FC236}">
                <a16:creationId xmlns:a16="http://schemas.microsoft.com/office/drawing/2014/main" id="{6E8ED707-1F75-C522-B9D2-2B531C27E3E9}"/>
              </a:ext>
            </a:extLst>
          </p:cNvPr>
          <p:cNvSpPr/>
          <p:nvPr/>
        </p:nvSpPr>
        <p:spPr>
          <a:xfrm>
            <a:off x="1686923" y="4736348"/>
            <a:ext cx="8817428" cy="1631532"/>
          </a:xfrm>
          <a:prstGeom prst="rect">
            <a:avLst/>
          </a:prstGeom>
          <a:noFill/>
          <a:ln>
            <a:noFill/>
          </a:ln>
        </p:spPr>
        <p:txBody>
          <a:bodyPr spcFirstLastPara="1" wrap="square" lIns="91433" tIns="45700" rIns="91433" bIns="45700" anchor="ctr" anchorCtr="0">
            <a:noAutofit/>
          </a:bodyPr>
          <a:lstStyle/>
          <a:p>
            <a:pPr algn="ctr"/>
            <a:r>
              <a:rPr lang="en-US" sz="2400">
                <a:solidFill>
                  <a:schemeClr val="bg1"/>
                </a:solidFill>
                <a:ea typeface="+mn-lt"/>
                <a:cs typeface="+mn-lt"/>
              </a:rPr>
              <a:t>67% of federal dollars flow through just two agencies. </a:t>
            </a:r>
            <a:br>
              <a:rPr lang="en-US" sz="2400">
                <a:solidFill>
                  <a:schemeClr val="bg1"/>
                </a:solidFill>
                <a:ea typeface="+mn-lt"/>
                <a:cs typeface="+mn-lt"/>
              </a:rPr>
            </a:br>
            <a:r>
              <a:rPr lang="en-US" sz="2400">
                <a:solidFill>
                  <a:schemeClr val="bg1">
                    <a:lumMod val="95000"/>
                  </a:schemeClr>
                </a:solidFill>
                <a:ea typeface="+mn-lt"/>
                <a:cs typeface="+mn-lt"/>
              </a:rPr>
              <a:t>Who's watching where it goes?</a:t>
            </a:r>
            <a:endParaRPr lang="en-US">
              <a:solidFill>
                <a:schemeClr val="bg1">
                  <a:lumMod val="95000"/>
                </a:schemeClr>
              </a:solidFill>
            </a:endParaRPr>
          </a:p>
        </p:txBody>
      </p:sp>
      <p:sp>
        <p:nvSpPr>
          <p:cNvPr id="24" name="TextBox 4">
            <a:extLst>
              <a:ext uri="{FF2B5EF4-FFF2-40B4-BE49-F238E27FC236}">
                <a16:creationId xmlns:a16="http://schemas.microsoft.com/office/drawing/2014/main" id="{0F2D2172-1A0B-4E5D-3A0A-C8AB7AD8AF9E}"/>
              </a:ext>
            </a:extLst>
          </p:cNvPr>
          <p:cNvSpPr txBox="1"/>
          <p:nvPr/>
        </p:nvSpPr>
        <p:spPr>
          <a:xfrm>
            <a:off x="541609" y="1586783"/>
            <a:ext cx="565723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Top 10 Agencies by Federal Funding (FY2019-2024)</a:t>
            </a:r>
          </a:p>
          <a:p>
            <a:endParaRPr lang="en-US" sz="1400" b="1">
              <a:solidFill>
                <a:srgbClr val="000000"/>
              </a:solidFill>
            </a:endParaRPr>
          </a:p>
        </p:txBody>
      </p:sp>
      <p:sp>
        <p:nvSpPr>
          <p:cNvPr id="25" name="Freeform 86">
            <a:extLst>
              <a:ext uri="{FF2B5EF4-FFF2-40B4-BE49-F238E27FC236}">
                <a16:creationId xmlns:a16="http://schemas.microsoft.com/office/drawing/2014/main" id="{90362B15-DB14-6558-5DDA-3292D5BD7A3A}"/>
              </a:ext>
            </a:extLst>
          </p:cNvPr>
          <p:cNvSpPr>
            <a:spLocks noChangeAspect="1" noChangeArrowheads="1"/>
          </p:cNvSpPr>
          <p:nvPr/>
        </p:nvSpPr>
        <p:spPr bwMode="auto">
          <a:xfrm>
            <a:off x="6167409" y="2307668"/>
            <a:ext cx="1700165" cy="1700275"/>
          </a:xfrm>
          <a:prstGeom prst="ellipse">
            <a:avLst/>
          </a:prstGeom>
          <a:solidFill>
            <a:schemeClr val="bg1">
              <a:lumMod val="75000"/>
            </a:schemeClr>
          </a:solidFill>
          <a:ln w="57150">
            <a:noFill/>
          </a:ln>
          <a:effectLst/>
        </p:spPr>
        <p:txBody>
          <a:bodyPr wrap="none" anchor="ct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effectLst/>
              <a:uLnTx/>
              <a:uFillTx/>
              <a:latin typeface="Arial"/>
              <a:ea typeface="+mn-ea"/>
              <a:cs typeface="+mn-cs"/>
            </a:endParaRPr>
          </a:p>
        </p:txBody>
      </p:sp>
      <p:sp>
        <p:nvSpPr>
          <p:cNvPr id="27" name="Pie 36">
            <a:extLst>
              <a:ext uri="{FF2B5EF4-FFF2-40B4-BE49-F238E27FC236}">
                <a16:creationId xmlns:a16="http://schemas.microsoft.com/office/drawing/2014/main" id="{86BD19CC-45F1-554C-FE4B-28A560AFE7F2}"/>
              </a:ext>
            </a:extLst>
          </p:cNvPr>
          <p:cNvSpPr>
            <a:spLocks noChangeAspect="1"/>
          </p:cNvSpPr>
          <p:nvPr/>
        </p:nvSpPr>
        <p:spPr>
          <a:xfrm>
            <a:off x="6167409" y="2307667"/>
            <a:ext cx="1700165" cy="1700275"/>
          </a:xfrm>
          <a:prstGeom prst="pie">
            <a:avLst>
              <a:gd name="adj1" fmla="val 17257894"/>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28" name="TextBox 38">
            <a:extLst>
              <a:ext uri="{FF2B5EF4-FFF2-40B4-BE49-F238E27FC236}">
                <a16:creationId xmlns:a16="http://schemas.microsoft.com/office/drawing/2014/main" id="{25E6778B-60F8-A977-EC32-9AD220982204}"/>
              </a:ext>
            </a:extLst>
          </p:cNvPr>
          <p:cNvSpPr txBox="1"/>
          <p:nvPr/>
        </p:nvSpPr>
        <p:spPr>
          <a:xfrm>
            <a:off x="6294173" y="3165094"/>
            <a:ext cx="1538239" cy="738664"/>
          </a:xfrm>
          <a:prstGeom prst="rect">
            <a:avLst/>
          </a:prstGeom>
          <a:noFill/>
        </p:spPr>
        <p:txBody>
          <a:bodyPr wrap="square" lIns="91440" tIns="45720" rIns="91440" bIns="45720" rtlCol="0" anchor="ctr">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a:solidFill>
                  <a:schemeClr val="bg1"/>
                </a:solidFill>
                <a:latin typeface="Arial"/>
                <a:ea typeface="Roboto"/>
                <a:cs typeface="Poppins Bold"/>
              </a:rPr>
              <a:t>Top 10 Agencies: </a:t>
            </a:r>
            <a:r>
              <a:rPr lang="en-US" sz="1400" b="1">
                <a:solidFill>
                  <a:schemeClr val="bg1"/>
                </a:solidFill>
                <a:latin typeface="Arial"/>
                <a:ea typeface="Roboto"/>
                <a:cs typeface="Arial"/>
              </a:rPr>
              <a:t>92% </a:t>
            </a:r>
            <a:r>
              <a:rPr lang="en-US" sz="1400" b="1">
                <a:solidFill>
                  <a:schemeClr val="bg1"/>
                </a:solidFill>
                <a:latin typeface="Arial"/>
                <a:ea typeface="Roboto"/>
                <a:cs typeface="Poppins Bold"/>
              </a:rPr>
              <a:t>($7.9T)</a:t>
            </a:r>
            <a:endParaRPr lang="en-US" sz="1400" b="1" i="0" u="none" strike="noStrike" kern="1200" cap="none" spc="0" normalizeH="0" baseline="0" noProof="0">
              <a:ln>
                <a:noFill/>
              </a:ln>
              <a:solidFill>
                <a:schemeClr val="bg1"/>
              </a:solidFill>
              <a:effectLst/>
              <a:uLnTx/>
              <a:uFillTx/>
              <a:latin typeface="Arial"/>
              <a:ea typeface="Roboto" charset="0"/>
              <a:cs typeface="Poppins Bold" panose="02000000000000000000" pitchFamily="2" charset="77"/>
            </a:endParaRPr>
          </a:p>
        </p:txBody>
      </p:sp>
      <p:cxnSp>
        <p:nvCxnSpPr>
          <p:cNvPr id="32" name="Straight Arrow Connector 31">
            <a:extLst>
              <a:ext uri="{FF2B5EF4-FFF2-40B4-BE49-F238E27FC236}">
                <a16:creationId xmlns:a16="http://schemas.microsoft.com/office/drawing/2014/main" id="{09ACE60B-B227-DF92-FBEF-1639BC016F3A}"/>
              </a:ext>
            </a:extLst>
          </p:cNvPr>
          <p:cNvCxnSpPr/>
          <p:nvPr/>
        </p:nvCxnSpPr>
        <p:spPr>
          <a:xfrm flipV="1">
            <a:off x="7174666" y="1974103"/>
            <a:ext cx="24120" cy="298132"/>
          </a:xfrm>
          <a:prstGeom prst="straightConnector1">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37D0B422-1035-60FA-BEDA-CBA7D53DC693}"/>
              </a:ext>
            </a:extLst>
          </p:cNvPr>
          <p:cNvGrpSpPr/>
          <p:nvPr/>
        </p:nvGrpSpPr>
        <p:grpSpPr>
          <a:xfrm>
            <a:off x="5072377" y="1488964"/>
            <a:ext cx="4112882" cy="446688"/>
            <a:chOff x="5151205" y="1305033"/>
            <a:chExt cx="4112882" cy="446688"/>
          </a:xfrm>
        </p:grpSpPr>
        <p:sp>
          <p:nvSpPr>
            <p:cNvPr id="4" name="Rectangle: Rounded Corners 3">
              <a:extLst>
                <a:ext uri="{FF2B5EF4-FFF2-40B4-BE49-F238E27FC236}">
                  <a16:creationId xmlns:a16="http://schemas.microsoft.com/office/drawing/2014/main" id="{C8E291E0-0239-2090-1E90-66EB8B1A7862}"/>
                </a:ext>
              </a:extLst>
            </p:cNvPr>
            <p:cNvSpPr/>
            <p:nvPr/>
          </p:nvSpPr>
          <p:spPr>
            <a:xfrm>
              <a:off x="5841999" y="1305033"/>
              <a:ext cx="2723931" cy="446688"/>
            </a:xfrm>
            <a:prstGeom prst="roundRect">
              <a:avLst/>
            </a:prstGeom>
            <a:solidFill>
              <a:schemeClr val="bg1">
                <a:lumMod val="85000"/>
              </a:schemeClr>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8">
              <a:extLst>
                <a:ext uri="{FF2B5EF4-FFF2-40B4-BE49-F238E27FC236}">
                  <a16:creationId xmlns:a16="http://schemas.microsoft.com/office/drawing/2014/main" id="{88A5AC07-3083-55D8-8415-2E9E28135110}"/>
                </a:ext>
              </a:extLst>
            </p:cNvPr>
            <p:cNvSpPr txBox="1"/>
            <p:nvPr/>
          </p:nvSpPr>
          <p:spPr>
            <a:xfrm>
              <a:off x="5151205" y="1365605"/>
              <a:ext cx="4112882" cy="307777"/>
            </a:xfrm>
            <a:prstGeom prst="rect">
              <a:avLst/>
            </a:prstGeom>
            <a:noFill/>
            <a:ln>
              <a:noFill/>
            </a:ln>
          </p:spPr>
          <p:txBody>
            <a:bodyPr wrap="square" lIns="91440" tIns="45720" rIns="91440" bIns="45720" rtlCol="0" anchor="ctr">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latin typeface="Arial"/>
                  <a:ea typeface="Roboto"/>
                  <a:cs typeface="Poppins Bold"/>
                </a:rPr>
                <a:t>33 Other Agencies: </a:t>
              </a:r>
              <a:r>
                <a:rPr lang="en-US" sz="1400">
                  <a:latin typeface="Arial"/>
                  <a:ea typeface="Roboto"/>
                  <a:cs typeface="Arial"/>
                </a:rPr>
                <a:t>8% </a:t>
              </a:r>
              <a:r>
                <a:rPr lang="en-US" sz="1400">
                  <a:latin typeface="Arial"/>
                  <a:ea typeface="Roboto"/>
                  <a:cs typeface="Poppins Bold"/>
                </a:rPr>
                <a:t>($670B)</a:t>
              </a:r>
              <a:endParaRPr lang="en-US">
                <a:ea typeface="Roboto"/>
                <a:cs typeface="Arial"/>
              </a:endParaRPr>
            </a:p>
          </p:txBody>
        </p:sp>
      </p:grpSp>
      <p:sp>
        <p:nvSpPr>
          <p:cNvPr id="5" name="Google Shape;538;p14">
            <a:extLst>
              <a:ext uri="{FF2B5EF4-FFF2-40B4-BE49-F238E27FC236}">
                <a16:creationId xmlns:a16="http://schemas.microsoft.com/office/drawing/2014/main" id="{13FA18DB-CF64-C74B-0844-F529665B0B5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Google Shape;507;p14">
            <a:extLst>
              <a:ext uri="{FF2B5EF4-FFF2-40B4-BE49-F238E27FC236}">
                <a16:creationId xmlns:a16="http://schemas.microsoft.com/office/drawing/2014/main" id="{74F3433B-8396-D80A-F975-10B59846BB7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USAspending.gov (FY2019-2024)</a:t>
            </a:r>
            <a:endParaRPr lang="en-US"/>
          </a:p>
        </p:txBody>
      </p:sp>
      <p:graphicFrame>
        <p:nvGraphicFramePr>
          <p:cNvPr id="10" name="Table 9">
            <a:extLst>
              <a:ext uri="{FF2B5EF4-FFF2-40B4-BE49-F238E27FC236}">
                <a16:creationId xmlns:a16="http://schemas.microsoft.com/office/drawing/2014/main" id="{5863B173-8AE8-44A4-FEB6-5B47657AB6D9}"/>
              </a:ext>
            </a:extLst>
          </p:cNvPr>
          <p:cNvGraphicFramePr>
            <a:graphicFrameLocks noGrp="1"/>
          </p:cNvGraphicFramePr>
          <p:nvPr>
            <p:extLst>
              <p:ext uri="{D42A27DB-BD31-4B8C-83A1-F6EECF244321}">
                <p14:modId xmlns:p14="http://schemas.microsoft.com/office/powerpoint/2010/main" val="1814714529"/>
              </p:ext>
            </p:extLst>
          </p:nvPr>
        </p:nvGraphicFramePr>
        <p:xfrm>
          <a:off x="8632208" y="1330657"/>
          <a:ext cx="3000839" cy="3693790"/>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pPr lvl="0">
                        <a:buNone/>
                      </a:pPr>
                      <a:r>
                        <a:rPr lang="en-US"/>
                        <a:t>Concentration Snapshot</a:t>
                      </a:r>
                    </a:p>
                  </a:txBody>
                  <a:tcPr/>
                </a:tc>
                <a:extLst>
                  <a:ext uri="{0D108BD9-81ED-4DB2-BD59-A6C34878D82A}">
                    <a16:rowId xmlns:a16="http://schemas.microsoft.com/office/drawing/2014/main" val="3181032172"/>
                  </a:ext>
                </a:extLst>
              </a:tr>
              <a:tr h="762000">
                <a:tc>
                  <a:txBody>
                    <a:bodyPr/>
                    <a:lstStyle/>
                    <a:p>
                      <a:pPr lvl="0" algn="l">
                        <a:lnSpc>
                          <a:spcPct val="100000"/>
                        </a:lnSpc>
                        <a:spcBef>
                          <a:spcPts val="0"/>
                        </a:spcBef>
                        <a:spcAft>
                          <a:spcPts val="1200"/>
                        </a:spcAft>
                        <a:buNone/>
                      </a:pPr>
                      <a:r>
                        <a:rPr lang="en-US" sz="2400" b="1" i="0" u="none" strike="noStrike" kern="1200" noProof="0">
                          <a:solidFill>
                            <a:srgbClr val="000000"/>
                          </a:solidFill>
                          <a:latin typeface="Aptos"/>
                          <a:ea typeface="+mn-ea"/>
                          <a:cs typeface="+mn-cs"/>
                        </a:rPr>
                        <a:t>$3.58 Trillion </a:t>
                      </a:r>
                      <a:br>
                        <a:rPr lang="en-US" sz="2000" b="1" i="0" u="none" strike="noStrike" kern="1200" noProof="0">
                          <a:solidFill>
                            <a:srgbClr val="000000"/>
                          </a:solidFill>
                          <a:latin typeface="Aptos"/>
                        </a:rPr>
                      </a:br>
                      <a:r>
                        <a:rPr lang="en-US" sz="2000" b="1" i="0" u="none" strike="noStrike" kern="1200" noProof="0">
                          <a:solidFill>
                            <a:srgbClr val="000000"/>
                          </a:solidFill>
                          <a:latin typeface="Aptos"/>
                          <a:ea typeface="+mn-ea"/>
                          <a:cs typeface="+mn-cs"/>
                        </a:rPr>
                        <a:t>to HHS Alone (42%) (Primarily Medicare/Medicaid)</a:t>
                      </a: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rPr>
                        <a:t>$5.74T to Top 2 Agencies (67%)</a:t>
                      </a:r>
                      <a:endParaRPr lang="en-US"/>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rPr>
                        <a:t>$7.9T to Top 10 Agencies (92%)</a:t>
                      </a:r>
                      <a:endParaRPr lang="en-US"/>
                    </a:p>
                  </a:txBody>
                  <a:tcPr/>
                </a:tc>
                <a:extLst>
                  <a:ext uri="{0D108BD9-81ED-4DB2-BD59-A6C34878D82A}">
                    <a16:rowId xmlns:a16="http://schemas.microsoft.com/office/drawing/2014/main" val="2812688270"/>
                  </a:ext>
                </a:extLst>
              </a:tr>
              <a:tr h="534537">
                <a:tc>
                  <a:txBody>
                    <a:bodyPr/>
                    <a:lstStyle/>
                    <a:p>
                      <a:pPr lvl="0">
                        <a:buNone/>
                      </a:pPr>
                      <a:r>
                        <a:rPr lang="en-US" sz="1800" b="0" i="0" u="none" strike="noStrike" noProof="0">
                          <a:solidFill>
                            <a:srgbClr val="000000"/>
                          </a:solidFill>
                        </a:rPr>
                        <a:t>$670B to 33 Other Agencies (8%)</a:t>
                      </a:r>
                      <a:endParaRPr lang="en-US"/>
                    </a:p>
                  </a:txBody>
                  <a:tcPr/>
                </a:tc>
                <a:extLst>
                  <a:ext uri="{0D108BD9-81ED-4DB2-BD59-A6C34878D82A}">
                    <a16:rowId xmlns:a16="http://schemas.microsoft.com/office/drawing/2014/main" val="2896748848"/>
                  </a:ext>
                </a:extLst>
              </a:tr>
            </a:tbl>
          </a:graphicData>
        </a:graphic>
      </p:graphicFrame>
      <p:sp>
        <p:nvSpPr>
          <p:cNvPr id="12" name="TextBox 4">
            <a:extLst>
              <a:ext uri="{FF2B5EF4-FFF2-40B4-BE49-F238E27FC236}">
                <a16:creationId xmlns:a16="http://schemas.microsoft.com/office/drawing/2014/main" id="{B388AEFB-AC0F-DB15-1223-9AC9087791D5}"/>
              </a:ext>
            </a:extLst>
          </p:cNvPr>
          <p:cNvSpPr txBox="1"/>
          <p:nvPr/>
        </p:nvSpPr>
        <p:spPr>
          <a:xfrm>
            <a:off x="651415" y="916744"/>
            <a:ext cx="7853455" cy="307777"/>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000000"/>
                </a:solidFill>
                <a:ea typeface="+mn-lt"/>
                <a:cs typeface="+mn-lt"/>
              </a:rPr>
              <a:t>Just 10 agencies are responsible for 92% of all federal financial assistance to recipients nationwide.</a:t>
            </a:r>
            <a:endParaRPr lang="en-US">
              <a:ea typeface="+mn-lt"/>
              <a:cs typeface="+mn-lt"/>
            </a:endParaRPr>
          </a:p>
        </p:txBody>
      </p:sp>
    </p:spTree>
    <p:extLst>
      <p:ext uri="{BB962C8B-B14F-4D97-AF65-F5344CB8AC3E}">
        <p14:creationId xmlns:p14="http://schemas.microsoft.com/office/powerpoint/2010/main" val="1561532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64687-D895-9E18-3ABB-F0D5409224F1}"/>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786650FA-F7D8-8AD8-318C-75FA18FB01B1}"/>
              </a:ext>
            </a:extLst>
          </p:cNvPr>
          <p:cNvSpPr/>
          <p:nvPr/>
        </p:nvSpPr>
        <p:spPr>
          <a:xfrm>
            <a:off x="8870169" y="4851005"/>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6228CDF-9B84-BA73-7D90-CFCC503B1800}"/>
              </a:ext>
            </a:extLst>
          </p:cNvPr>
          <p:cNvSpPr>
            <a:spLocks noGrp="1"/>
          </p:cNvSpPr>
          <p:nvPr>
            <p:ph type="title"/>
          </p:nvPr>
        </p:nvSpPr>
        <p:spPr>
          <a:xfrm>
            <a:off x="554736" y="109851"/>
            <a:ext cx="10329286" cy="801858"/>
          </a:xfrm>
        </p:spPr>
        <p:txBody>
          <a:bodyPr>
            <a:normAutofit/>
          </a:bodyPr>
          <a:lstStyle/>
          <a:p>
            <a:r>
              <a:rPr lang="en-GB">
                <a:highlight>
                  <a:srgbClr val="FFFFFF"/>
                </a:highlight>
                <a:latin typeface="Arial"/>
                <a:cs typeface="Arial"/>
              </a:rPr>
              <a:t>What the Audits Reveal</a:t>
            </a:r>
            <a:endParaRPr lang="en-US"/>
          </a:p>
        </p:txBody>
      </p:sp>
      <p:sp>
        <p:nvSpPr>
          <p:cNvPr id="21" name="Google Shape;934;p251">
            <a:extLst>
              <a:ext uri="{FF2B5EF4-FFF2-40B4-BE49-F238E27FC236}">
                <a16:creationId xmlns:a16="http://schemas.microsoft.com/office/drawing/2014/main" id="{AFB51F41-0476-877F-2985-2FF3D19C2C82}"/>
              </a:ext>
            </a:extLst>
          </p:cNvPr>
          <p:cNvSpPr/>
          <p:nvPr/>
        </p:nvSpPr>
        <p:spPr>
          <a:xfrm>
            <a:off x="1634734" y="4852314"/>
            <a:ext cx="8817428" cy="1631532"/>
          </a:xfrm>
          <a:prstGeom prst="rect">
            <a:avLst/>
          </a:prstGeom>
          <a:noFill/>
          <a:ln>
            <a:noFill/>
          </a:ln>
        </p:spPr>
        <p:txBody>
          <a:bodyPr spcFirstLastPara="1" wrap="square" lIns="91433" tIns="45700" rIns="91433" bIns="45700" anchor="ctr" anchorCtr="0">
            <a:noAutofit/>
          </a:bodyPr>
          <a:lstStyle/>
          <a:p>
            <a:pPr algn="ctr"/>
            <a:endParaRPr lang="en-US" sz="2400">
              <a:solidFill>
                <a:schemeClr val="bg1"/>
              </a:solidFill>
            </a:endParaRPr>
          </a:p>
        </p:txBody>
      </p:sp>
      <p:pic>
        <p:nvPicPr>
          <p:cNvPr id="8" name="Picture 7">
            <a:extLst>
              <a:ext uri="{FF2B5EF4-FFF2-40B4-BE49-F238E27FC236}">
                <a16:creationId xmlns:a16="http://schemas.microsoft.com/office/drawing/2014/main" id="{89308627-29C4-D9A7-774C-3D9033252E38}"/>
              </a:ext>
            </a:extLst>
          </p:cNvPr>
          <p:cNvPicPr>
            <a:picLocks noChangeAspect="1"/>
          </p:cNvPicPr>
          <p:nvPr/>
        </p:nvPicPr>
        <p:blipFill>
          <a:blip r:embed="rId3"/>
          <a:srcRect l="-641" t="-671" r="769" b="-351"/>
          <a:stretch>
            <a:fillRect/>
          </a:stretch>
        </p:blipFill>
        <p:spPr>
          <a:xfrm>
            <a:off x="281557" y="1846546"/>
            <a:ext cx="8247498" cy="1597349"/>
          </a:xfrm>
          <a:prstGeom prst="rect">
            <a:avLst/>
          </a:prstGeom>
        </p:spPr>
      </p:pic>
      <p:graphicFrame>
        <p:nvGraphicFramePr>
          <p:cNvPr id="3" name="Table 2">
            <a:extLst>
              <a:ext uri="{FF2B5EF4-FFF2-40B4-BE49-F238E27FC236}">
                <a16:creationId xmlns:a16="http://schemas.microsoft.com/office/drawing/2014/main" id="{1E2827D1-C5AB-0F5D-2023-AA2260A3634F}"/>
              </a:ext>
            </a:extLst>
          </p:cNvPr>
          <p:cNvGraphicFramePr>
            <a:graphicFrameLocks noGrp="1"/>
          </p:cNvGraphicFramePr>
          <p:nvPr>
            <p:extLst>
              <p:ext uri="{D42A27DB-BD31-4B8C-83A1-F6EECF244321}">
                <p14:modId xmlns:p14="http://schemas.microsoft.com/office/powerpoint/2010/main" val="4027601436"/>
              </p:ext>
            </p:extLst>
          </p:nvPr>
        </p:nvGraphicFramePr>
        <p:xfrm>
          <a:off x="359244" y="3973205"/>
          <a:ext cx="8168636" cy="1925320"/>
        </p:xfrm>
        <a:graphic>
          <a:graphicData uri="http://schemas.openxmlformats.org/drawingml/2006/table">
            <a:tbl>
              <a:tblPr firstRow="1" bandRow="1">
                <a:tableStyleId>{5C22544A-7EE6-4342-B048-85BDC9FD1C3A}</a:tableStyleId>
              </a:tblPr>
              <a:tblGrid>
                <a:gridCol w="1633727">
                  <a:extLst>
                    <a:ext uri="{9D8B030D-6E8A-4147-A177-3AD203B41FA5}">
                      <a16:colId xmlns:a16="http://schemas.microsoft.com/office/drawing/2014/main" val="883558888"/>
                    </a:ext>
                  </a:extLst>
                </a:gridCol>
                <a:gridCol w="1633727">
                  <a:extLst>
                    <a:ext uri="{9D8B030D-6E8A-4147-A177-3AD203B41FA5}">
                      <a16:colId xmlns:a16="http://schemas.microsoft.com/office/drawing/2014/main" val="1107849240"/>
                    </a:ext>
                  </a:extLst>
                </a:gridCol>
                <a:gridCol w="1633727">
                  <a:extLst>
                    <a:ext uri="{9D8B030D-6E8A-4147-A177-3AD203B41FA5}">
                      <a16:colId xmlns:a16="http://schemas.microsoft.com/office/drawing/2014/main" val="1036898897"/>
                    </a:ext>
                  </a:extLst>
                </a:gridCol>
                <a:gridCol w="1758461">
                  <a:extLst>
                    <a:ext uri="{9D8B030D-6E8A-4147-A177-3AD203B41FA5}">
                      <a16:colId xmlns:a16="http://schemas.microsoft.com/office/drawing/2014/main" val="127835336"/>
                    </a:ext>
                  </a:extLst>
                </a:gridCol>
                <a:gridCol w="1508994">
                  <a:extLst>
                    <a:ext uri="{9D8B030D-6E8A-4147-A177-3AD203B41FA5}">
                      <a16:colId xmlns:a16="http://schemas.microsoft.com/office/drawing/2014/main" val="986382081"/>
                    </a:ext>
                  </a:extLst>
                </a:gridCol>
              </a:tblGrid>
              <a:tr h="370840">
                <a:tc gridSpan="5">
                  <a:txBody>
                    <a:bodyPr/>
                    <a:lstStyle/>
                    <a:p>
                      <a:r>
                        <a:rPr lang="en-US"/>
                        <a:t>What These Findings Mean</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75703595"/>
                  </a:ext>
                </a:extLst>
              </a:tr>
              <a:tr h="370840">
                <a:tc>
                  <a:txBody>
                    <a:bodyPr/>
                    <a:lstStyle/>
                    <a:p>
                      <a:r>
                        <a:rPr lang="en-US" b="1"/>
                        <a:t>Significant Deficiency</a:t>
                      </a:r>
                    </a:p>
                  </a:txBody>
                  <a:tcPr/>
                </a:tc>
                <a:tc>
                  <a:txBody>
                    <a:bodyPr/>
                    <a:lstStyle/>
                    <a:p>
                      <a:r>
                        <a:rPr lang="en-US" b="1"/>
                        <a:t>Material Weakness</a:t>
                      </a:r>
                    </a:p>
                  </a:txBody>
                  <a:tcPr/>
                </a:tc>
                <a:tc>
                  <a:txBody>
                    <a:bodyPr/>
                    <a:lstStyle/>
                    <a:p>
                      <a:r>
                        <a:rPr lang="en-US" b="1"/>
                        <a:t>Repeat Findings</a:t>
                      </a:r>
                    </a:p>
                  </a:txBody>
                  <a:tcPr/>
                </a:tc>
                <a:tc>
                  <a:txBody>
                    <a:bodyPr/>
                    <a:lstStyle/>
                    <a:p>
                      <a:r>
                        <a:rPr lang="en-US" b="1"/>
                        <a:t>Modified Opinion</a:t>
                      </a:r>
                    </a:p>
                  </a:txBody>
                  <a:tcPr/>
                </a:tc>
                <a:tc>
                  <a:txBody>
                    <a:bodyPr/>
                    <a:lstStyle/>
                    <a:p>
                      <a:r>
                        <a:rPr lang="en-US" b="1"/>
                        <a:t>Questioned Costs</a:t>
                      </a:r>
                    </a:p>
                  </a:txBody>
                  <a:tcPr/>
                </a:tc>
                <a:extLst>
                  <a:ext uri="{0D108BD9-81ED-4DB2-BD59-A6C34878D82A}">
                    <a16:rowId xmlns:a16="http://schemas.microsoft.com/office/drawing/2014/main" val="4188001726"/>
                  </a:ext>
                </a:extLst>
              </a:tr>
              <a:tr h="370839">
                <a:tc>
                  <a:txBody>
                    <a:bodyPr/>
                    <a:lstStyle/>
                    <a:p>
                      <a:pPr marL="285750" lvl="0" indent="-285750">
                        <a:buFont typeface="Arial"/>
                        <a:buChar char="•"/>
                      </a:pPr>
                      <a:r>
                        <a:rPr lang="en-US"/>
                        <a:t>Notable control weakness</a:t>
                      </a:r>
                    </a:p>
                  </a:txBody>
                  <a:tcPr/>
                </a:tc>
                <a:tc>
                  <a:txBody>
                    <a:bodyPr/>
                    <a:lstStyle/>
                    <a:p>
                      <a:pPr marL="285750" lvl="0" indent="-285750">
                        <a:buFont typeface="Arial"/>
                        <a:buChar char="•"/>
                      </a:pPr>
                      <a:r>
                        <a:rPr lang="en-US"/>
                        <a:t>Severe control failure</a:t>
                      </a:r>
                    </a:p>
                  </a:txBody>
                  <a:tcPr/>
                </a:tc>
                <a:tc>
                  <a:txBody>
                    <a:bodyPr/>
                    <a:lstStyle/>
                    <a:p>
                      <a:pPr marL="285750" lvl="0" indent="-285750">
                        <a:buFont typeface="Arial"/>
                        <a:buChar char="•"/>
                      </a:pPr>
                      <a:r>
                        <a:rPr lang="en-US"/>
                        <a:t>Same issue year after year</a:t>
                      </a:r>
                    </a:p>
                  </a:txBody>
                  <a:tcPr/>
                </a:tc>
                <a:tc>
                  <a:txBody>
                    <a:bodyPr/>
                    <a:lstStyle/>
                    <a:p>
                      <a:pPr marL="285750" lvl="0" indent="-285750">
                        <a:buFont typeface="Arial"/>
                        <a:buChar char="•"/>
                      </a:pPr>
                      <a:r>
                        <a:rPr lang="en-US"/>
                        <a:t>Auditor couldn't fully approve</a:t>
                      </a:r>
                    </a:p>
                  </a:txBody>
                  <a:tcPr/>
                </a:tc>
                <a:tc>
                  <a:txBody>
                    <a:bodyPr/>
                    <a:lstStyle/>
                    <a:p>
                      <a:pPr marL="285750" lvl="0" indent="-285750">
                        <a:buFont typeface="Arial"/>
                        <a:buChar char="•"/>
                      </a:pPr>
                      <a:r>
                        <a:rPr lang="en-US"/>
                        <a:t>Spending flagged as improper</a:t>
                      </a:r>
                    </a:p>
                  </a:txBody>
                  <a:tcPr/>
                </a:tc>
                <a:extLst>
                  <a:ext uri="{0D108BD9-81ED-4DB2-BD59-A6C34878D82A}">
                    <a16:rowId xmlns:a16="http://schemas.microsoft.com/office/drawing/2014/main" val="2310231681"/>
                  </a:ext>
                </a:extLst>
              </a:tr>
            </a:tbl>
          </a:graphicData>
        </a:graphic>
      </p:graphicFrame>
      <p:sp>
        <p:nvSpPr>
          <p:cNvPr id="6" name="Google Shape;538;p14">
            <a:extLst>
              <a:ext uri="{FF2B5EF4-FFF2-40B4-BE49-F238E27FC236}">
                <a16:creationId xmlns:a16="http://schemas.microsoft.com/office/drawing/2014/main" id="{F281137C-7930-4B3E-42DF-2DDC19A59B7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12" name="TextBox 4">
            <a:extLst>
              <a:ext uri="{FF2B5EF4-FFF2-40B4-BE49-F238E27FC236}">
                <a16:creationId xmlns:a16="http://schemas.microsoft.com/office/drawing/2014/main" id="{9265D1A0-45B5-E34A-D381-94FEA6590F3C}"/>
              </a:ext>
            </a:extLst>
          </p:cNvPr>
          <p:cNvSpPr txBox="1"/>
          <p:nvPr/>
        </p:nvSpPr>
        <p:spPr>
          <a:xfrm>
            <a:off x="651415" y="916744"/>
            <a:ext cx="7987538"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Cumulative Audit Findings (FY2016-2024) reveal a chronic pattern of over 332,417 findings of control failures and financial mismanagement.</a:t>
            </a:r>
            <a:endParaRPr lang="en-US">
              <a:ea typeface="+mn-lt"/>
              <a:cs typeface="+mn-lt"/>
            </a:endParaRPr>
          </a:p>
        </p:txBody>
      </p:sp>
      <p:graphicFrame>
        <p:nvGraphicFramePr>
          <p:cNvPr id="11" name="Table 10">
            <a:extLst>
              <a:ext uri="{FF2B5EF4-FFF2-40B4-BE49-F238E27FC236}">
                <a16:creationId xmlns:a16="http://schemas.microsoft.com/office/drawing/2014/main" id="{D2DD68DC-0955-37FA-7DEF-C581C45D173A}"/>
              </a:ext>
            </a:extLst>
          </p:cNvPr>
          <p:cNvGraphicFramePr>
            <a:graphicFrameLocks noGrp="1"/>
          </p:cNvGraphicFramePr>
          <p:nvPr>
            <p:extLst>
              <p:ext uri="{D42A27DB-BD31-4B8C-83A1-F6EECF244321}">
                <p14:modId xmlns:p14="http://schemas.microsoft.com/office/powerpoint/2010/main" val="2986430765"/>
              </p:ext>
            </p:extLst>
          </p:nvPr>
        </p:nvGraphicFramePr>
        <p:xfrm>
          <a:off x="8632208" y="1330657"/>
          <a:ext cx="3000839" cy="3158273"/>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r>
                        <a:rPr lang="en-US"/>
                        <a:t>Federal Audit Snapshot</a:t>
                      </a:r>
                    </a:p>
                  </a:txBody>
                  <a:tcPr/>
                </a:tc>
                <a:extLst>
                  <a:ext uri="{0D108BD9-81ED-4DB2-BD59-A6C34878D82A}">
                    <a16:rowId xmlns:a16="http://schemas.microsoft.com/office/drawing/2014/main" val="3181032172"/>
                  </a:ext>
                </a:extLst>
              </a:tr>
              <a:tr h="836083">
                <a:tc>
                  <a:txBody>
                    <a:bodyPr/>
                    <a:lstStyle/>
                    <a:p>
                      <a:pPr lvl="0" algn="l">
                        <a:lnSpc>
                          <a:spcPct val="100000"/>
                        </a:lnSpc>
                        <a:spcBef>
                          <a:spcPts val="0"/>
                        </a:spcBef>
                        <a:spcAft>
                          <a:spcPts val="0"/>
                        </a:spcAft>
                        <a:buNone/>
                      </a:pPr>
                      <a:r>
                        <a:rPr lang="en-US" sz="2400" b="1" i="0" u="none" strike="noStrike" kern="1200" noProof="0">
                          <a:solidFill>
                            <a:srgbClr val="000000"/>
                          </a:solidFill>
                          <a:latin typeface="Aptos"/>
                          <a:ea typeface="+mn-ea"/>
                          <a:cs typeface="+mn-cs"/>
                        </a:rPr>
                        <a:t>57,448 Entities </a:t>
                      </a:r>
                      <a:r>
                        <a:rPr lang="en-US" sz="2000" b="1" i="0" u="none" strike="noStrike" kern="1200" noProof="0">
                          <a:solidFill>
                            <a:srgbClr val="000000"/>
                          </a:solidFill>
                          <a:latin typeface="Aptos"/>
                          <a:ea typeface="+mn-ea"/>
                          <a:cs typeface="+mn-cs"/>
                        </a:rPr>
                        <a:t>Audited</a:t>
                      </a:r>
                    </a:p>
                  </a:txBody>
                  <a:tcPr/>
                </a:tc>
                <a:extLst>
                  <a:ext uri="{0D108BD9-81ED-4DB2-BD59-A6C34878D82A}">
                    <a16:rowId xmlns:a16="http://schemas.microsoft.com/office/drawing/2014/main" val="3595583248"/>
                  </a:ext>
                </a:extLst>
              </a:tr>
              <a:tr h="477671">
                <a:tc>
                  <a:txBody>
                    <a:bodyPr/>
                    <a:lstStyle/>
                    <a:p>
                      <a:pPr lvl="0">
                        <a:buNone/>
                      </a:pPr>
                      <a:r>
                        <a:rPr lang="en-US" sz="1800" b="0" i="0" u="none" strike="noStrike" noProof="0">
                          <a:solidFill>
                            <a:srgbClr val="000000"/>
                          </a:solidFill>
                          <a:latin typeface="Aptos"/>
                        </a:rPr>
                        <a:t>332,417 Total Findings FY2016-2024</a:t>
                      </a:r>
                      <a:endParaRPr lang="en-US"/>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latin typeface="Aptos"/>
                        </a:rPr>
                        <a:t>Average of 5.8 Findings per Entity</a:t>
                      </a:r>
                    </a:p>
                  </a:txBody>
                  <a:tcPr/>
                </a:tc>
                <a:extLst>
                  <a:ext uri="{0D108BD9-81ED-4DB2-BD59-A6C34878D82A}">
                    <a16:rowId xmlns:a16="http://schemas.microsoft.com/office/drawing/2014/main" val="2812688270"/>
                  </a:ext>
                </a:extLst>
              </a:tr>
              <a:tr h="471054">
                <a:tc>
                  <a:txBody>
                    <a:bodyPr/>
                    <a:lstStyle/>
                    <a:p>
                      <a:pPr lvl="0">
                        <a:buNone/>
                      </a:pPr>
                      <a:r>
                        <a:rPr lang="en-US" sz="1800" b="0" i="0" u="none" strike="noStrike" noProof="0">
                          <a:solidFill>
                            <a:srgbClr val="000000"/>
                          </a:solidFill>
                          <a:latin typeface="Aptos"/>
                        </a:rPr>
                        <a:t>75,734 Material Weaknesses</a:t>
                      </a:r>
                    </a:p>
                  </a:txBody>
                  <a:tcPr/>
                </a:tc>
                <a:extLst>
                  <a:ext uri="{0D108BD9-81ED-4DB2-BD59-A6C34878D82A}">
                    <a16:rowId xmlns:a16="http://schemas.microsoft.com/office/drawing/2014/main" val="2896748848"/>
                  </a:ext>
                </a:extLst>
              </a:tr>
            </a:tbl>
          </a:graphicData>
        </a:graphic>
      </p:graphicFrame>
      <p:sp>
        <p:nvSpPr>
          <p:cNvPr id="14" name="Google Shape;507;p14">
            <a:extLst>
              <a:ext uri="{FF2B5EF4-FFF2-40B4-BE49-F238E27FC236}">
                <a16:creationId xmlns:a16="http://schemas.microsoft.com/office/drawing/2014/main" id="{50F08C9F-9FB4-4BB2-9A51-D8932031261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ea typeface="+mn-lt"/>
                <a:cs typeface="+mn-lt"/>
                <a:sym typeface="Arial"/>
              </a:rPr>
              <a:t>Source: Federal Audit Clearinghouse (FY2016-2024)</a:t>
            </a:r>
            <a:endParaRPr lang="en-US">
              <a:ea typeface="+mn-lt"/>
              <a:cs typeface="+mn-lt"/>
            </a:endParaRPr>
          </a:p>
        </p:txBody>
      </p:sp>
      <p:sp>
        <p:nvSpPr>
          <p:cNvPr id="7" name="Google Shape;934;p251">
            <a:extLst>
              <a:ext uri="{FF2B5EF4-FFF2-40B4-BE49-F238E27FC236}">
                <a16:creationId xmlns:a16="http://schemas.microsoft.com/office/drawing/2014/main" id="{2847D536-25ED-B1BC-A95C-232A93F2372E}"/>
              </a:ext>
            </a:extLst>
          </p:cNvPr>
          <p:cNvSpPr/>
          <p:nvPr/>
        </p:nvSpPr>
        <p:spPr>
          <a:xfrm>
            <a:off x="8870450" y="5126111"/>
            <a:ext cx="2528995" cy="1323408"/>
          </a:xfrm>
          <a:prstGeom prst="rect">
            <a:avLst/>
          </a:prstGeom>
          <a:noFill/>
          <a:ln>
            <a:noFill/>
          </a:ln>
        </p:spPr>
        <p:txBody>
          <a:bodyPr spcFirstLastPara="1" wrap="square" lIns="91433" tIns="45700" rIns="91433" bIns="45700" anchor="ctr" anchorCtr="0">
            <a:noAutofit/>
          </a:bodyPr>
          <a:lstStyle/>
          <a:p>
            <a:pPr algn="ctr"/>
            <a:r>
              <a:rPr lang="en-US" sz="2200">
                <a:solidFill>
                  <a:schemeClr val="bg1"/>
                </a:solidFill>
                <a:ea typeface="+mn-lt"/>
                <a:cs typeface="+mn-lt"/>
              </a:rPr>
              <a:t>Audits surface the problems. </a:t>
            </a:r>
            <a:br>
              <a:rPr lang="en-US" sz="2200">
                <a:solidFill>
                  <a:schemeClr val="bg1"/>
                </a:solidFill>
                <a:ea typeface="+mn-lt"/>
                <a:cs typeface="+mn-lt"/>
              </a:rPr>
            </a:br>
            <a:r>
              <a:rPr lang="en-US" sz="2200">
                <a:solidFill>
                  <a:schemeClr val="bg1">
                    <a:lumMod val="95000"/>
                  </a:schemeClr>
                </a:solidFill>
                <a:ea typeface="+mn-lt"/>
                <a:cs typeface="+mn-lt"/>
              </a:rPr>
              <a:t>But how do we measure the risk?</a:t>
            </a:r>
            <a:endParaRPr lang="en-US">
              <a:solidFill>
                <a:schemeClr val="bg1">
                  <a:lumMod val="95000"/>
                </a:schemeClr>
              </a:solidFill>
            </a:endParaRPr>
          </a:p>
        </p:txBody>
      </p:sp>
      <p:cxnSp>
        <p:nvCxnSpPr>
          <p:cNvPr id="5" name="Straight Arrow Connector 4">
            <a:extLst>
              <a:ext uri="{FF2B5EF4-FFF2-40B4-BE49-F238E27FC236}">
                <a16:creationId xmlns:a16="http://schemas.microsoft.com/office/drawing/2014/main" id="{A96E7C91-FF4E-0277-B116-2CAEE8E091E7}"/>
              </a:ext>
            </a:extLst>
          </p:cNvPr>
          <p:cNvCxnSpPr/>
          <p:nvPr/>
        </p:nvCxnSpPr>
        <p:spPr>
          <a:xfrm flipV="1">
            <a:off x="5620898" y="1947827"/>
            <a:ext cx="263064" cy="545544"/>
          </a:xfrm>
          <a:prstGeom prst="straightConnector1">
            <a:avLst/>
          </a:prstGeom>
          <a:ln>
            <a:solidFill>
              <a:schemeClr val="bg2">
                <a:lumMod val="25000"/>
              </a:schemeClr>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A7AFA8DE-FCA4-978C-4858-D949E93CAD50}"/>
              </a:ext>
            </a:extLst>
          </p:cNvPr>
          <p:cNvGrpSpPr/>
          <p:nvPr/>
        </p:nvGrpSpPr>
        <p:grpSpPr>
          <a:xfrm>
            <a:off x="5281446" y="1436410"/>
            <a:ext cx="3000121" cy="532978"/>
            <a:chOff x="5841999" y="1305033"/>
            <a:chExt cx="4923592" cy="453032"/>
          </a:xfrm>
        </p:grpSpPr>
        <p:sp>
          <p:nvSpPr>
            <p:cNvPr id="10" name="Rectangle: Rounded Corners 9">
              <a:extLst>
                <a:ext uri="{FF2B5EF4-FFF2-40B4-BE49-F238E27FC236}">
                  <a16:creationId xmlns:a16="http://schemas.microsoft.com/office/drawing/2014/main" id="{A443CEF2-05EE-DB0A-1D89-11258BA05ADE}"/>
                </a:ext>
              </a:extLst>
            </p:cNvPr>
            <p:cNvSpPr/>
            <p:nvPr/>
          </p:nvSpPr>
          <p:spPr>
            <a:xfrm>
              <a:off x="5841999" y="1305033"/>
              <a:ext cx="4923592" cy="446688"/>
            </a:xfrm>
            <a:prstGeom prst="roundRect">
              <a:avLst/>
            </a:prstGeom>
            <a:solidFill>
              <a:schemeClr val="bg1">
                <a:lumMod val="85000"/>
              </a:schemeClr>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38">
              <a:extLst>
                <a:ext uri="{FF2B5EF4-FFF2-40B4-BE49-F238E27FC236}">
                  <a16:creationId xmlns:a16="http://schemas.microsoft.com/office/drawing/2014/main" id="{88ACDB9A-3624-CC14-8723-F829609DD6A3}"/>
                </a:ext>
              </a:extLst>
            </p:cNvPr>
            <p:cNvSpPr txBox="1"/>
            <p:nvPr/>
          </p:nvSpPr>
          <p:spPr>
            <a:xfrm>
              <a:off x="5932030" y="1313328"/>
              <a:ext cx="4774085" cy="444737"/>
            </a:xfrm>
            <a:prstGeom prst="rect">
              <a:avLst/>
            </a:prstGeom>
            <a:noFill/>
            <a:ln>
              <a:noFill/>
            </a:ln>
          </p:spPr>
          <p:txBody>
            <a:bodyPr wrap="square" lIns="91440" tIns="45720" rIns="91440" bIns="45720" rtlCol="0" anchor="ctr">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latin typeface="Arial"/>
                  <a:ea typeface="Roboto"/>
                  <a:cs typeface="Poppins Bold"/>
                </a:rPr>
                <a:t>Highest severity: Indicates broken internal controls</a:t>
              </a:r>
              <a:endParaRPr lang="en-US"/>
            </a:p>
          </p:txBody>
        </p:sp>
      </p:grpSp>
    </p:spTree>
    <p:extLst>
      <p:ext uri="{BB962C8B-B14F-4D97-AF65-F5344CB8AC3E}">
        <p14:creationId xmlns:p14="http://schemas.microsoft.com/office/powerpoint/2010/main" val="735017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544A0-E0AF-14DC-CF57-B3700AFB65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A2B93A-2CF0-0FA4-B86A-0B2DE6A79AA8}"/>
              </a:ext>
            </a:extLst>
          </p:cNvPr>
          <p:cNvSpPr>
            <a:spLocks noGrp="1"/>
          </p:cNvSpPr>
          <p:nvPr>
            <p:ph type="title"/>
          </p:nvPr>
        </p:nvSpPr>
        <p:spPr>
          <a:xfrm>
            <a:off x="554736" y="109851"/>
            <a:ext cx="8069562" cy="731520"/>
          </a:xfrm>
        </p:spPr>
        <p:txBody>
          <a:bodyPr>
            <a:normAutofit/>
          </a:bodyPr>
          <a:lstStyle/>
          <a:p>
            <a:r>
              <a:rPr lang="en-GB">
                <a:highlight>
                  <a:srgbClr val="FFFFFF"/>
                </a:highlight>
                <a:ea typeface="+mj-lt"/>
                <a:cs typeface="+mj-lt"/>
              </a:rPr>
              <a:t>Where Risk Concentrates</a:t>
            </a:r>
            <a:endParaRPr lang="en-US" err="1"/>
          </a:p>
        </p:txBody>
      </p:sp>
      <p:sp>
        <p:nvSpPr>
          <p:cNvPr id="5" name="Google Shape;538;p14">
            <a:extLst>
              <a:ext uri="{FF2B5EF4-FFF2-40B4-BE49-F238E27FC236}">
                <a16:creationId xmlns:a16="http://schemas.microsoft.com/office/drawing/2014/main" id="{0073C5D3-FDB2-3155-8BAC-E3EC4CBC98D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r>
              <a:rPr lang="en-GB" sz="900">
                <a:latin typeface="Arial"/>
                <a:cs typeface="Arial"/>
                <a:sym typeface="Arial"/>
              </a:rPr>
              <a:t>Fiscal Patriots | AGA </a:t>
            </a:r>
            <a:r>
              <a:rPr lang="en-GB" sz="900" err="1">
                <a:latin typeface="Arial"/>
                <a:cs typeface="Arial"/>
                <a:sym typeface="Arial"/>
              </a:rPr>
              <a:t>Datathon</a:t>
            </a:r>
            <a:r>
              <a:rPr lang="en-GB" sz="900">
                <a:latin typeface="Arial"/>
                <a:cs typeface="Arial"/>
                <a:sym typeface="Arial"/>
              </a:rPr>
              <a:t> 2026</a:t>
            </a:r>
            <a:endParaRPr lang="en-US"/>
          </a:p>
        </p:txBody>
      </p:sp>
      <p:sp>
        <p:nvSpPr>
          <p:cNvPr id="6" name="Google Shape;507;p14">
            <a:extLst>
              <a:ext uri="{FF2B5EF4-FFF2-40B4-BE49-F238E27FC236}">
                <a16:creationId xmlns:a16="http://schemas.microsoft.com/office/drawing/2014/main" id="{8D296085-2750-C699-714F-86BB15647C4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r>
              <a:rPr lang="en-GB" sz="900">
                <a:solidFill>
                  <a:srgbClr val="383A42"/>
                </a:solidFill>
                <a:latin typeface="Consolas"/>
                <a:ea typeface="+mn-lt"/>
                <a:cs typeface="+mn-lt"/>
                <a:sym typeface="Arial"/>
              </a:rPr>
              <a:t>Source: Federal Audit Clearinghouse (FY2016-2024)</a:t>
            </a:r>
            <a:endParaRPr lang="en-US">
              <a:solidFill>
                <a:srgbClr val="383A42"/>
              </a:solidFill>
              <a:latin typeface="Consolas"/>
              <a:sym typeface="Arial"/>
            </a:endParaRPr>
          </a:p>
        </p:txBody>
      </p:sp>
      <p:graphicFrame>
        <p:nvGraphicFramePr>
          <p:cNvPr id="10" name="Table 9">
            <a:extLst>
              <a:ext uri="{FF2B5EF4-FFF2-40B4-BE49-F238E27FC236}">
                <a16:creationId xmlns:a16="http://schemas.microsoft.com/office/drawing/2014/main" id="{F1AA5DD3-518E-8669-D989-4D31316C7288}"/>
              </a:ext>
            </a:extLst>
          </p:cNvPr>
          <p:cNvGraphicFramePr>
            <a:graphicFrameLocks noGrp="1"/>
          </p:cNvGraphicFramePr>
          <p:nvPr>
            <p:extLst>
              <p:ext uri="{D42A27DB-BD31-4B8C-83A1-F6EECF244321}">
                <p14:modId xmlns:p14="http://schemas.microsoft.com/office/powerpoint/2010/main" val="231393267"/>
              </p:ext>
            </p:extLst>
          </p:nvPr>
        </p:nvGraphicFramePr>
        <p:xfrm>
          <a:off x="8632208" y="1162018"/>
          <a:ext cx="3000839" cy="3289619"/>
        </p:xfrm>
        <a:graphic>
          <a:graphicData uri="http://schemas.openxmlformats.org/drawingml/2006/table">
            <a:tbl>
              <a:tblPr firstRow="1" bandRow="1">
                <a:tableStyleId>{5C22544A-7EE6-4342-B048-85BDC9FD1C3A}</a:tableStyleId>
              </a:tblPr>
              <a:tblGrid>
                <a:gridCol w="3000839">
                  <a:extLst>
                    <a:ext uri="{9D8B030D-6E8A-4147-A177-3AD203B41FA5}">
                      <a16:colId xmlns:a16="http://schemas.microsoft.com/office/drawing/2014/main" val="353664432"/>
                    </a:ext>
                  </a:extLst>
                </a:gridCol>
              </a:tblGrid>
              <a:tr h="401950">
                <a:tc>
                  <a:txBody>
                    <a:bodyPr/>
                    <a:lstStyle/>
                    <a:p>
                      <a:pPr lvl="0">
                        <a:buNone/>
                      </a:pPr>
                      <a:r>
                        <a:rPr lang="en-US" sz="1800" b="1" i="0" u="none" strike="noStrike" noProof="0">
                          <a:latin typeface="Aptos"/>
                        </a:rPr>
                        <a:t>Concentration Snapshot</a:t>
                      </a:r>
                      <a:endParaRPr lang="en-US"/>
                    </a:p>
                  </a:txBody>
                  <a:tcPr/>
                </a:tc>
                <a:extLst>
                  <a:ext uri="{0D108BD9-81ED-4DB2-BD59-A6C34878D82A}">
                    <a16:rowId xmlns:a16="http://schemas.microsoft.com/office/drawing/2014/main" val="3181032172"/>
                  </a:ext>
                </a:extLst>
              </a:tr>
              <a:tr h="551793">
                <a:tc>
                  <a:txBody>
                    <a:bodyPr/>
                    <a:lstStyle/>
                    <a:p>
                      <a:pPr lvl="0" algn="l">
                        <a:lnSpc>
                          <a:spcPct val="100000"/>
                        </a:lnSpc>
                        <a:spcBef>
                          <a:spcPts val="0"/>
                        </a:spcBef>
                        <a:spcAft>
                          <a:spcPts val="0"/>
                        </a:spcAft>
                        <a:buNone/>
                      </a:pPr>
                      <a:r>
                        <a:rPr lang="en-US" sz="2400" b="1" i="0" u="none" strike="noStrike" kern="1200" noProof="0">
                          <a:solidFill>
                            <a:srgbClr val="000000"/>
                          </a:solidFill>
                          <a:latin typeface="Aptos"/>
                          <a:ea typeface="+mn-ea"/>
                          <a:cs typeface="+mn-cs"/>
                        </a:rPr>
                        <a:t>332,417 Findings</a:t>
                      </a:r>
                    </a:p>
                  </a:txBody>
                  <a:tcPr/>
                </a:tc>
                <a:extLst>
                  <a:ext uri="{0D108BD9-81ED-4DB2-BD59-A6C34878D82A}">
                    <a16:rowId xmlns:a16="http://schemas.microsoft.com/office/drawing/2014/main" val="3595583248"/>
                  </a:ext>
                </a:extLst>
              </a:tr>
              <a:tr h="415636">
                <a:tc>
                  <a:txBody>
                    <a:bodyPr/>
                    <a:lstStyle/>
                    <a:p>
                      <a:pPr lvl="0">
                        <a:buNone/>
                      </a:pPr>
                      <a:r>
                        <a:rPr lang="en-US" sz="1800" b="0" i="0" u="none" strike="noStrike" noProof="0">
                          <a:solidFill>
                            <a:srgbClr val="000000"/>
                          </a:solidFill>
                        </a:rPr>
                        <a:t>16,334 Entities with findings</a:t>
                      </a:r>
                    </a:p>
                  </a:txBody>
                  <a:tcPr/>
                </a:tc>
                <a:extLst>
                  <a:ext uri="{0D108BD9-81ED-4DB2-BD59-A6C34878D82A}">
                    <a16:rowId xmlns:a16="http://schemas.microsoft.com/office/drawing/2014/main" val="2840237138"/>
                  </a:ext>
                </a:extLst>
              </a:tr>
              <a:tr h="477671">
                <a:tc>
                  <a:txBody>
                    <a:bodyPr/>
                    <a:lstStyle/>
                    <a:p>
                      <a:pPr lvl="0" algn="l">
                        <a:lnSpc>
                          <a:spcPct val="100000"/>
                        </a:lnSpc>
                        <a:spcBef>
                          <a:spcPts val="0"/>
                        </a:spcBef>
                        <a:spcAft>
                          <a:spcPts val="0"/>
                        </a:spcAft>
                        <a:buNone/>
                      </a:pPr>
                      <a:r>
                        <a:rPr lang="en-US" sz="1800" b="0" i="0" u="none" strike="noStrike" noProof="0">
                          <a:solidFill>
                            <a:srgbClr val="000000"/>
                          </a:solidFill>
                          <a:latin typeface="Aptos"/>
                        </a:rPr>
                        <a:t>Top 20 entities → 13% of findings</a:t>
                      </a:r>
                      <a:endParaRPr lang="en-US"/>
                    </a:p>
                  </a:txBody>
                  <a:tcPr/>
                </a:tc>
                <a:extLst>
                  <a:ext uri="{0D108BD9-81ED-4DB2-BD59-A6C34878D82A}">
                    <a16:rowId xmlns:a16="http://schemas.microsoft.com/office/drawing/2014/main" val="2812688270"/>
                  </a:ext>
                </a:extLst>
              </a:tr>
              <a:tr h="446689">
                <a:tc>
                  <a:txBody>
                    <a:bodyPr/>
                    <a:lstStyle/>
                    <a:p>
                      <a:pPr lvl="0">
                        <a:buNone/>
                      </a:pPr>
                      <a:r>
                        <a:rPr lang="en-US" sz="1800" b="0" i="0" u="none" strike="noStrike" noProof="0">
                          <a:solidFill>
                            <a:srgbClr val="000000"/>
                          </a:solidFill>
                          <a:latin typeface="Aptos"/>
                        </a:rPr>
                        <a:t>Top 20 average: 2,239 findings </a:t>
                      </a:r>
                    </a:p>
                  </a:txBody>
                  <a:tcPr/>
                </a:tc>
                <a:extLst>
                  <a:ext uri="{0D108BD9-81ED-4DB2-BD59-A6C34878D82A}">
                    <a16:rowId xmlns:a16="http://schemas.microsoft.com/office/drawing/2014/main" val="2896748848"/>
                  </a:ext>
                </a:extLst>
              </a:tr>
              <a:tr h="534537">
                <a:tc>
                  <a:txBody>
                    <a:bodyPr/>
                    <a:lstStyle/>
                    <a:p>
                      <a:pPr marL="0" lvl="0" algn="l" rtl="0" eaLnBrk="1" latinLnBrk="0" hangingPunct="1">
                        <a:lnSpc>
                          <a:spcPct val="100000"/>
                        </a:lnSpc>
                        <a:spcBef>
                          <a:spcPts val="0"/>
                        </a:spcBef>
                        <a:spcAft>
                          <a:spcPts val="0"/>
                        </a:spcAft>
                        <a:buNone/>
                      </a:pPr>
                      <a:r>
                        <a:rPr lang="en-US" sz="1800" b="0" i="0" u="none" strike="noStrike" kern="1200" noProof="0">
                          <a:solidFill>
                            <a:srgbClr val="000000"/>
                          </a:solidFill>
                          <a:latin typeface="Aptos"/>
                          <a:ea typeface="+mn-ea"/>
                          <a:cs typeface="+mn-cs"/>
                        </a:rPr>
                        <a:t>All others average: 18 findings</a:t>
                      </a:r>
                    </a:p>
                  </a:txBody>
                  <a:tcPr/>
                </a:tc>
                <a:extLst>
                  <a:ext uri="{0D108BD9-81ED-4DB2-BD59-A6C34878D82A}">
                    <a16:rowId xmlns:a16="http://schemas.microsoft.com/office/drawing/2014/main" val="2795024267"/>
                  </a:ext>
                </a:extLst>
              </a:tr>
            </a:tbl>
          </a:graphicData>
        </a:graphic>
      </p:graphicFrame>
      <p:sp>
        <p:nvSpPr>
          <p:cNvPr id="12" name="TextBox 4">
            <a:extLst>
              <a:ext uri="{FF2B5EF4-FFF2-40B4-BE49-F238E27FC236}">
                <a16:creationId xmlns:a16="http://schemas.microsoft.com/office/drawing/2014/main" id="{06D2CA1E-1F13-4CD2-3AE2-7A65C468CAC4}"/>
              </a:ext>
            </a:extLst>
          </p:cNvPr>
          <p:cNvSpPr txBox="1"/>
          <p:nvPr/>
        </p:nvSpPr>
        <p:spPr>
          <a:xfrm>
            <a:off x="651415" y="916744"/>
            <a:ext cx="7354214"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ea typeface="+mn-lt"/>
                <a:cs typeface="+mn-lt"/>
              </a:rPr>
              <a:t>A small number of entities drive most audit failures.</a:t>
            </a:r>
          </a:p>
          <a:p>
            <a:endParaRPr lang="en-US" sz="1400">
              <a:solidFill>
                <a:srgbClr val="000000"/>
              </a:solidFill>
              <a:latin typeface="Aptos"/>
            </a:endParaRPr>
          </a:p>
        </p:txBody>
      </p:sp>
      <p:sp>
        <p:nvSpPr>
          <p:cNvPr id="7" name="Rectangle: Rounded Corners 6">
            <a:extLst>
              <a:ext uri="{FF2B5EF4-FFF2-40B4-BE49-F238E27FC236}">
                <a16:creationId xmlns:a16="http://schemas.microsoft.com/office/drawing/2014/main" id="{E9CFC2CB-7FFB-A283-705F-C0EC8EDC1BE6}"/>
              </a:ext>
            </a:extLst>
          </p:cNvPr>
          <p:cNvSpPr/>
          <p:nvPr/>
        </p:nvSpPr>
        <p:spPr>
          <a:xfrm>
            <a:off x="8863923" y="4857251"/>
            <a:ext cx="2526547" cy="185345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oogle Shape;934;p251">
            <a:extLst>
              <a:ext uri="{FF2B5EF4-FFF2-40B4-BE49-F238E27FC236}">
                <a16:creationId xmlns:a16="http://schemas.microsoft.com/office/drawing/2014/main" id="{24301C7B-A5C0-043E-6D30-39B40675ADA0}"/>
              </a:ext>
            </a:extLst>
          </p:cNvPr>
          <p:cNvSpPr/>
          <p:nvPr/>
        </p:nvSpPr>
        <p:spPr>
          <a:xfrm>
            <a:off x="8870450" y="5118288"/>
            <a:ext cx="2528995" cy="1323408"/>
          </a:xfrm>
          <a:prstGeom prst="rect">
            <a:avLst/>
          </a:prstGeom>
          <a:noFill/>
          <a:ln>
            <a:noFill/>
          </a:ln>
        </p:spPr>
        <p:txBody>
          <a:bodyPr spcFirstLastPara="1" wrap="square" lIns="91433" tIns="45700" rIns="91433" bIns="45700" anchor="ctr" anchorCtr="0">
            <a:noAutofit/>
          </a:bodyPr>
          <a:lstStyle/>
          <a:p>
            <a:pPr algn="ctr"/>
            <a:r>
              <a:rPr lang="en-GB" sz="2200">
                <a:solidFill>
                  <a:schemeClr val="bg1"/>
                </a:solidFill>
                <a:latin typeface="Aptos"/>
                <a:ea typeface="+mn-lt"/>
                <a:cs typeface="+mn-lt"/>
              </a:rPr>
              <a:t> </a:t>
            </a:r>
            <a:r>
              <a:rPr lang="en-GB" sz="2200">
                <a:solidFill>
                  <a:schemeClr val="bg1"/>
                </a:solidFill>
                <a:ea typeface="+mn-lt"/>
                <a:cs typeface="+mn-lt"/>
              </a:rPr>
              <a:t>20 entities. 13% of failures. </a:t>
            </a:r>
            <a:endParaRPr lang="en-US" sz="2200">
              <a:solidFill>
                <a:schemeClr val="bg1"/>
              </a:solidFill>
              <a:ea typeface="+mn-lt"/>
              <a:cs typeface="+mn-lt"/>
            </a:endParaRPr>
          </a:p>
          <a:p>
            <a:pPr algn="ctr"/>
            <a:r>
              <a:rPr lang="en-GB" sz="2200">
                <a:solidFill>
                  <a:schemeClr val="bg1">
                    <a:lumMod val="95000"/>
                  </a:schemeClr>
                </a:solidFill>
                <a:ea typeface="+mn-lt"/>
                <a:cs typeface="+mn-lt"/>
              </a:rPr>
              <a:t>124x the average.</a:t>
            </a:r>
            <a:endParaRPr lang="en-US" sz="2200">
              <a:solidFill>
                <a:schemeClr val="bg1">
                  <a:lumMod val="95000"/>
                </a:schemeClr>
              </a:solidFill>
              <a:ea typeface="+mn-lt"/>
              <a:cs typeface="+mn-lt"/>
            </a:endParaRPr>
          </a:p>
        </p:txBody>
      </p:sp>
      <p:pic>
        <p:nvPicPr>
          <p:cNvPr id="4" name="Picture 3">
            <a:extLst>
              <a:ext uri="{FF2B5EF4-FFF2-40B4-BE49-F238E27FC236}">
                <a16:creationId xmlns:a16="http://schemas.microsoft.com/office/drawing/2014/main" id="{C8932792-4B90-D7BE-337E-986670819B29}"/>
              </a:ext>
            </a:extLst>
          </p:cNvPr>
          <p:cNvPicPr>
            <a:picLocks noChangeAspect="1"/>
          </p:cNvPicPr>
          <p:nvPr/>
        </p:nvPicPr>
        <p:blipFill>
          <a:blip r:embed="rId3"/>
          <a:stretch>
            <a:fillRect/>
          </a:stretch>
        </p:blipFill>
        <p:spPr>
          <a:xfrm>
            <a:off x="237912" y="2565684"/>
            <a:ext cx="8325787" cy="1820888"/>
          </a:xfrm>
          <a:prstGeom prst="rect">
            <a:avLst/>
          </a:prstGeom>
        </p:spPr>
      </p:pic>
      <p:sp>
        <p:nvSpPr>
          <p:cNvPr id="14" name="TextBox 4">
            <a:extLst>
              <a:ext uri="{FF2B5EF4-FFF2-40B4-BE49-F238E27FC236}">
                <a16:creationId xmlns:a16="http://schemas.microsoft.com/office/drawing/2014/main" id="{E68201E8-0770-3558-3407-74644E66A78B}"/>
              </a:ext>
            </a:extLst>
          </p:cNvPr>
          <p:cNvSpPr txBox="1"/>
          <p:nvPr/>
        </p:nvSpPr>
        <p:spPr>
          <a:xfrm>
            <a:off x="673341" y="2252255"/>
            <a:ext cx="5657236" cy="523220"/>
          </a:xfrm>
          <a:prstGeom prst="rect">
            <a:avLst/>
          </a:prstGeom>
          <a:noFill/>
          <a:ln w="6350">
            <a:noFill/>
            <a:miter lim="800000"/>
          </a:ln>
        </p:spPr>
        <p:txBody>
          <a:bodyPr wrap="square" lIns="91440" tIns="45720" rIns="91440" bIns="45720" anchor="t">
            <a:spAutoFit/>
          </a:bodyPr>
          <a:ls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bg2">
                    <a:lumMod val="25000"/>
                  </a:schemeClr>
                </a:solidFill>
                <a:latin typeface="Aptos"/>
              </a:rPr>
              <a:t>Top 20 Entities by Audit Findings</a:t>
            </a:r>
            <a:endParaRPr lang="en-US"/>
          </a:p>
          <a:p>
            <a:endParaRPr lang="en-US" sz="1400" b="1">
              <a:solidFill>
                <a:srgbClr val="000000"/>
              </a:solidFill>
            </a:endParaRPr>
          </a:p>
        </p:txBody>
      </p:sp>
    </p:spTree>
    <p:extLst>
      <p:ext uri="{BB962C8B-B14F-4D97-AF65-F5344CB8AC3E}">
        <p14:creationId xmlns:p14="http://schemas.microsoft.com/office/powerpoint/2010/main" val="2928388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xml><?xml version="1.0" encoding="utf-8"?>
<p:tagLst xmlns:a="http://schemas.openxmlformats.org/drawingml/2006/main" xmlns:r="http://schemas.openxmlformats.org/officeDocument/2006/relationships" xmlns:p="http://schemas.openxmlformats.org/presentationml/2006/main">
  <p:tag name="SHAPENAME" val="Subtitle"/>
</p:tagLst>
</file>

<file path=ppt/tags/tag11.xml><?xml version="1.0" encoding="utf-8"?>
<p:tagLst xmlns:a="http://schemas.openxmlformats.org/drawingml/2006/main" xmlns:r="http://schemas.openxmlformats.org/officeDocument/2006/relationships" xmlns:p="http://schemas.openxmlformats.org/presentationml/2006/main">
  <p:tag name="SHAPENAME" val="Title"/>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8.xml><?xml version="1.0" encoding="utf-8"?>
<p:tagLst xmlns:a="http://schemas.openxmlformats.org/drawingml/2006/main" xmlns:r="http://schemas.openxmlformats.org/officeDocument/2006/relationships" xmlns:p="http://schemas.openxmlformats.org/presentationml/2006/main">
  <p:tag name="SHAPENAME" val="ClientLogo"/>
</p:tagLst>
</file>

<file path=ppt/tags/tag9.xml><?xml version="1.0" encoding="utf-8"?>
<p:tagLst xmlns:a="http://schemas.openxmlformats.org/drawingml/2006/main" xmlns:r="http://schemas.openxmlformats.org/officeDocument/2006/relationships" xmlns:p="http://schemas.openxmlformats.org/presentationml/2006/main">
  <p:tag name="SHAPENAME" val="Documenttyp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0</Slides>
  <Notes>20</Notes>
  <HiddenSlides>1</HiddenSlide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PowerPoint Presentation</vt:lpstr>
      <vt:lpstr>PowerPoint Presentation</vt:lpstr>
      <vt:lpstr>PowerPoint Presentation</vt:lpstr>
      <vt:lpstr>A Unified View of Federal Accountability</vt:lpstr>
      <vt:lpstr>Where Does Federal Funding Go?</vt:lpstr>
      <vt:lpstr>Federal Financial Assistance Over Time</vt:lpstr>
      <vt:lpstr>How Is Funding Concentrated?</vt:lpstr>
      <vt:lpstr>What the Audits Reveal</vt:lpstr>
      <vt:lpstr>Where Risk Concentrates</vt:lpstr>
      <vt:lpstr>The Audit Health Score</vt:lpstr>
      <vt:lpstr>The Science Behind the Score</vt:lpstr>
      <vt:lpstr>PowerPoint Presentation</vt:lpstr>
      <vt:lpstr>When the Score Hits Zero</vt:lpstr>
      <vt:lpstr>A Gap in the System</vt:lpstr>
      <vt:lpstr>Banned by One Agency, Paid by Another</vt:lpstr>
      <vt:lpstr>Predicting Audit Findings (Entity-Year Risk Model)</vt:lpstr>
      <vt:lpstr>Closing the Gaps</vt:lpstr>
      <vt:lpstr>Appendix </vt:lpstr>
      <vt:lpstr>PowerPoint Presentation</vt:lpstr>
      <vt:lpstr>Closing the Gap -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5</cp:revision>
  <dcterms:created xsi:type="dcterms:W3CDTF">2026-01-07T16:33:55Z</dcterms:created>
  <dcterms:modified xsi:type="dcterms:W3CDTF">2026-01-18T22:36:16Z</dcterms:modified>
</cp:coreProperties>
</file>